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11" r:id="rId5"/>
  </p:sldMasterIdLst>
  <p:notesMasterIdLst>
    <p:notesMasterId r:id="rId20"/>
  </p:notesMasterIdLst>
  <p:handoutMasterIdLst>
    <p:handoutMasterId r:id="rId21"/>
  </p:handoutMasterIdLst>
  <p:sldIdLst>
    <p:sldId id="257" r:id="rId6"/>
    <p:sldId id="2325" r:id="rId7"/>
    <p:sldId id="276" r:id="rId8"/>
    <p:sldId id="2332" r:id="rId9"/>
    <p:sldId id="2333" r:id="rId10"/>
    <p:sldId id="2334" r:id="rId11"/>
    <p:sldId id="2335" r:id="rId12"/>
    <p:sldId id="2342" r:id="rId13"/>
    <p:sldId id="2336" r:id="rId14"/>
    <p:sldId id="2337" r:id="rId15"/>
    <p:sldId id="2338" r:id="rId16"/>
    <p:sldId id="2339" r:id="rId17"/>
    <p:sldId id="2340" r:id="rId18"/>
    <p:sldId id="2341" r:id="rId19"/>
  </p:sldIdLst>
  <p:sldSz cx="9144000" cy="5143500" type="screen16x9"/>
  <p:notesSz cx="6797675" cy="9926638"/>
  <p:custDataLst>
    <p:tags r:id="rId22"/>
  </p:custDataLst>
  <p:defaultTextStyle>
    <a:defPPr>
      <a:defRPr lang="fi-FI"/>
    </a:defPPr>
    <a:lvl1pPr marL="0" algn="l" defTabSz="679871" rtl="0" eaLnBrk="1" latinLnBrk="0" hangingPunct="1">
      <a:defRPr sz="134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42BE27-EB29-9654-C374-F2E0CFABC9EC}" name="Anna-Maria Rauhala" initials="AMR" userId="S::anna-maria.rauhala@ramboll.fi::b3c7859e-02aa-43ad-b898-aff8d50a01a9" providerId="AD"/>
  <p188:author id="{2CB6143A-76C5-9B5F-3F79-47A2ABE18FB6}" name="Joel Jokivuori" initials="JJ" userId="S::joel.jokivuori@ramboll.fi::dad2b884-a891-4960-b725-0d4bc0900125" providerId="AD"/>
  <p188:author id="{68457CA5-E14D-B05B-4485-4D899059AC1A}" name="Samuel Rintamäki" initials="SR" userId="S::samuel.rintamaki@ramboll.fi::629c6419-5b68-4ba7-a2c4-1e58a48069f7" providerId="AD"/>
  <p188:author id="{700FCCD2-FFA9-CF7E-BF4A-FA99ACF0C0C7}" name="Sami Ruotsalainen" initials="SR" userId="S::sami.ruotsalainen@ramboll.fi::ca7d0a82-bb72-4b23-ae21-867fa9b9b13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ukonen Sini" initials="KS" lastIdx="7" clrIdx="0">
    <p:extLst>
      <p:ext uri="{19B8F6BF-5375-455C-9EA6-DF929625EA0E}">
        <p15:presenceInfo xmlns:p15="http://schemas.microsoft.com/office/powerpoint/2012/main" userId="S-1-5-21-1871869801-2214748161-1963216912-12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B7F0"/>
    <a:srgbClr val="000000"/>
    <a:srgbClr val="FF805C"/>
    <a:srgbClr val="0ACFCF"/>
    <a:srgbClr val="0F78B2"/>
    <a:srgbClr val="D02E00"/>
    <a:srgbClr val="FF00B8"/>
    <a:srgbClr val="0070C0"/>
    <a:srgbClr val="8ACFF5"/>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C134E7-68D4-466A-8FEF-AAD2CE461183}" v="14" dt="2024-10-07T05:30:56.262"/>
  </p1510:revLst>
</p1510:revInfo>
</file>

<file path=ppt/tableStyles.xml><?xml version="1.0" encoding="utf-8"?>
<a:tblStyleLst xmlns:a="http://schemas.openxmlformats.org/drawingml/2006/main" def="{5C22544A-7EE6-4342-B048-85BDC9FD1C3A}">
  <a:tblStyle styleId="{F5AB1C69-6EDB-4FF4-983F-18BD219EF322}" styleName="Normaali tyyli 2 - Korostu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Normaali tyyli 2 - Korostu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Normaali tyyli 2 - Korostu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81" d="100"/>
          <a:sy n="181" d="100"/>
        </p:scale>
        <p:origin x="162" y="522"/>
      </p:cViewPr>
      <p:guideLst>
        <p:guide orient="horz" pos="162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la Ranne" userId="960b0e87-783b-448d-a173-0b61af3b4d87" providerId="ADAL" clId="{958C9EC7-BAE2-4B56-A8F9-CEFBFE410D65}"/>
    <pc:docChg chg="undo custSel addSld delSld modSld modMainMaster replTag">
      <pc:chgData name="Malla Ranne" userId="960b0e87-783b-448d-a173-0b61af3b4d87" providerId="ADAL" clId="{958C9EC7-BAE2-4B56-A8F9-CEFBFE410D65}" dt="2024-08-19T13:38:30.178" v="348" actId="403"/>
      <pc:docMkLst>
        <pc:docMk/>
      </pc:docMkLst>
      <pc:sldChg chg="modSp add mod modShow chgLayout">
        <pc:chgData name="Malla Ranne" userId="960b0e87-783b-448d-a173-0b61af3b4d87" providerId="ADAL" clId="{958C9EC7-BAE2-4B56-A8F9-CEFBFE410D65}" dt="2024-08-19T11:25:25.997" v="252" actId="729"/>
        <pc:sldMkLst>
          <pc:docMk/>
          <pc:sldMk cId="133743526" sldId="261"/>
        </pc:sldMkLst>
        <pc:spChg chg="mod ord">
          <ac:chgData name="Malla Ranne" userId="960b0e87-783b-448d-a173-0b61af3b4d87" providerId="ADAL" clId="{958C9EC7-BAE2-4B56-A8F9-CEFBFE410D65}" dt="2024-08-19T11:24:29.051" v="195" actId="700"/>
          <ac:spMkLst>
            <pc:docMk/>
            <pc:sldMk cId="133743526" sldId="261"/>
            <ac:spMk id="4" creationId="{25B30A95-5AF9-4BF2-ABC5-A5B2142E08B0}"/>
          </ac:spMkLst>
        </pc:spChg>
        <pc:spChg chg="mod ord">
          <ac:chgData name="Malla Ranne" userId="960b0e87-783b-448d-a173-0b61af3b4d87" providerId="ADAL" clId="{958C9EC7-BAE2-4B56-A8F9-CEFBFE410D65}" dt="2024-08-19T11:24:29.051" v="195" actId="700"/>
          <ac:spMkLst>
            <pc:docMk/>
            <pc:sldMk cId="133743526" sldId="261"/>
            <ac:spMk id="5" creationId="{8F8B4C64-C8CB-4B60-BC83-3C523DC74A39}"/>
          </ac:spMkLst>
        </pc:spChg>
        <pc:spChg chg="mod ord">
          <ac:chgData name="Malla Ranne" userId="960b0e87-783b-448d-a173-0b61af3b4d87" providerId="ADAL" clId="{958C9EC7-BAE2-4B56-A8F9-CEFBFE410D65}" dt="2024-08-19T11:24:32.844" v="199" actId="14100"/>
          <ac:spMkLst>
            <pc:docMk/>
            <pc:sldMk cId="133743526" sldId="261"/>
            <ac:spMk id="7" creationId="{888DFC7E-F9B3-AC4A-0B84-E79C905030AC}"/>
          </ac:spMkLst>
        </pc:spChg>
        <pc:graphicFrameChg chg="mod ord">
          <ac:chgData name="Malla Ranne" userId="960b0e87-783b-448d-a173-0b61af3b4d87" providerId="ADAL" clId="{958C9EC7-BAE2-4B56-A8F9-CEFBFE410D65}" dt="2024-08-19T11:24:29.051" v="195" actId="700"/>
          <ac:graphicFrameMkLst>
            <pc:docMk/>
            <pc:sldMk cId="133743526" sldId="261"/>
            <ac:graphicFrameMk id="10" creationId="{8294DA35-963E-8560-EA91-A5F080AE96FA}"/>
          </ac:graphicFrameMkLst>
        </pc:graphicFrameChg>
      </pc:sldChg>
      <pc:sldChg chg="new del">
        <pc:chgData name="Malla Ranne" userId="960b0e87-783b-448d-a173-0b61af3b4d87" providerId="ADAL" clId="{958C9EC7-BAE2-4B56-A8F9-CEFBFE410D65}" dt="2024-08-19T11:22:55.946" v="129" actId="47"/>
        <pc:sldMkLst>
          <pc:docMk/>
          <pc:sldMk cId="1797801953" sldId="2319"/>
        </pc:sldMkLst>
      </pc:sldChg>
      <pc:sldChg chg="addSp delSp modSp add mod modShow">
        <pc:chgData name="Malla Ranne" userId="960b0e87-783b-448d-a173-0b61af3b4d87" providerId="ADAL" clId="{958C9EC7-BAE2-4B56-A8F9-CEFBFE410D65}" dt="2024-08-19T13:38:23.432" v="345" actId="729"/>
        <pc:sldMkLst>
          <pc:docMk/>
          <pc:sldMk cId="3797582595" sldId="2320"/>
        </pc:sldMkLst>
        <pc:spChg chg="mod">
          <ac:chgData name="Malla Ranne" userId="960b0e87-783b-448d-a173-0b61af3b4d87" providerId="ADAL" clId="{958C9EC7-BAE2-4B56-A8F9-CEFBFE410D65}" dt="2024-08-19T11:22:51.577" v="54" actId="948"/>
          <ac:spMkLst>
            <pc:docMk/>
            <pc:sldMk cId="3797582595" sldId="2320"/>
            <ac:spMk id="5" creationId="{8F8B4C64-C8CB-4B60-BC83-3C523DC74A39}"/>
          </ac:spMkLst>
        </pc:spChg>
        <pc:spChg chg="add del mod modVis">
          <ac:chgData name="Malla Ranne" userId="960b0e87-783b-448d-a173-0b61af3b4d87" providerId="ADAL" clId="{958C9EC7-BAE2-4B56-A8F9-CEFBFE410D65}" dt="2024-08-19T11:22:51.747" v="113"/>
          <ac:spMkLst>
            <pc:docMk/>
            <pc:sldMk cId="3797582595" sldId="2320"/>
            <ac:spMk id="11" creationId="{E9126177-F691-E8DC-59AE-3C26D07E99AB}"/>
          </ac:spMkLst>
        </pc:spChg>
        <pc:graphicFrameChg chg="add mod ord modVis replST">
          <ac:chgData name="Malla Ranne" userId="960b0e87-783b-448d-a173-0b61af3b4d87" providerId="ADAL" clId="{958C9EC7-BAE2-4B56-A8F9-CEFBFE410D65}" dt="2024-08-19T11:22:51.773" v="128"/>
          <ac:graphicFrameMkLst>
            <pc:docMk/>
            <pc:sldMk cId="3797582595" sldId="2320"/>
            <ac:graphicFrameMk id="12" creationId="{1202E3C8-1670-17EA-9612-9C17B1EAF7BF}"/>
          </ac:graphicFrameMkLst>
        </pc:graphicFrameChg>
      </pc:sldChg>
      <pc:sldChg chg="modSp add mod">
        <pc:chgData name="Malla Ranne" userId="960b0e87-783b-448d-a173-0b61af3b4d87" providerId="ADAL" clId="{958C9EC7-BAE2-4B56-A8F9-CEFBFE410D65}" dt="2024-08-19T13:38:30.178" v="348" actId="403"/>
        <pc:sldMkLst>
          <pc:docMk/>
          <pc:sldMk cId="2314721252" sldId="2321"/>
        </pc:sldMkLst>
        <pc:spChg chg="mod">
          <ac:chgData name="Malla Ranne" userId="960b0e87-783b-448d-a173-0b61af3b4d87" providerId="ADAL" clId="{958C9EC7-BAE2-4B56-A8F9-CEFBFE410D65}" dt="2024-08-19T11:23:30.167" v="160" actId="1036"/>
          <ac:spMkLst>
            <pc:docMk/>
            <pc:sldMk cId="2314721252" sldId="2321"/>
            <ac:spMk id="2" creationId="{5E4BC7CC-A8B1-7C26-B8CF-1B706D3A008B}"/>
          </ac:spMkLst>
        </pc:spChg>
        <pc:spChg chg="mod">
          <ac:chgData name="Malla Ranne" userId="960b0e87-783b-448d-a173-0b61af3b4d87" providerId="ADAL" clId="{958C9EC7-BAE2-4B56-A8F9-CEFBFE410D65}" dt="2024-08-19T11:23:30.167" v="160" actId="1036"/>
          <ac:spMkLst>
            <pc:docMk/>
            <pc:sldMk cId="2314721252" sldId="2321"/>
            <ac:spMk id="3" creationId="{47A7305B-A53B-E1E2-FF13-954EF7C91EBA}"/>
          </ac:spMkLst>
        </pc:spChg>
        <pc:spChg chg="mod">
          <ac:chgData name="Malla Ranne" userId="960b0e87-783b-448d-a173-0b61af3b4d87" providerId="ADAL" clId="{958C9EC7-BAE2-4B56-A8F9-CEFBFE410D65}" dt="2024-08-19T11:22:50.910" v="4" actId="27636"/>
          <ac:spMkLst>
            <pc:docMk/>
            <pc:sldMk cId="2314721252" sldId="2321"/>
            <ac:spMk id="5" creationId="{8F8B4C64-C8CB-4B60-BC83-3C523DC74A39}"/>
          </ac:spMkLst>
        </pc:spChg>
        <pc:spChg chg="mod">
          <ac:chgData name="Malla Ranne" userId="960b0e87-783b-448d-a173-0b61af3b4d87" providerId="ADAL" clId="{958C9EC7-BAE2-4B56-A8F9-CEFBFE410D65}" dt="2024-08-19T11:23:30.167" v="160" actId="1036"/>
          <ac:spMkLst>
            <pc:docMk/>
            <pc:sldMk cId="2314721252" sldId="2321"/>
            <ac:spMk id="6" creationId="{2B817106-EC50-85F9-EBB4-4CEF40EA3AE0}"/>
          </ac:spMkLst>
        </pc:spChg>
        <pc:spChg chg="mod">
          <ac:chgData name="Malla Ranne" userId="960b0e87-783b-448d-a173-0b61af3b4d87" providerId="ADAL" clId="{958C9EC7-BAE2-4B56-A8F9-CEFBFE410D65}" dt="2024-08-19T11:23:30.167" v="160" actId="1036"/>
          <ac:spMkLst>
            <pc:docMk/>
            <pc:sldMk cId="2314721252" sldId="2321"/>
            <ac:spMk id="9" creationId="{7B044DD7-1178-CAB3-D4FB-9CC306EF8114}"/>
          </ac:spMkLst>
        </pc:spChg>
        <pc:spChg chg="mod">
          <ac:chgData name="Malla Ranne" userId="960b0e87-783b-448d-a173-0b61af3b4d87" providerId="ADAL" clId="{958C9EC7-BAE2-4B56-A8F9-CEFBFE410D65}" dt="2024-08-19T13:38:30.178" v="348" actId="403"/>
          <ac:spMkLst>
            <pc:docMk/>
            <pc:sldMk cId="2314721252" sldId="2321"/>
            <ac:spMk id="19" creationId="{980BD512-ABFC-878A-A349-91590680F282}"/>
          </ac:spMkLst>
        </pc:spChg>
        <pc:spChg chg="mod">
          <ac:chgData name="Malla Ranne" userId="960b0e87-783b-448d-a173-0b61af3b4d87" providerId="ADAL" clId="{958C9EC7-BAE2-4B56-A8F9-CEFBFE410D65}" dt="2024-08-19T11:23:30.167" v="160" actId="1036"/>
          <ac:spMkLst>
            <pc:docMk/>
            <pc:sldMk cId="2314721252" sldId="2321"/>
            <ac:spMk id="20" creationId="{781E92E0-C3B0-1B89-D4DA-491D8351AA3E}"/>
          </ac:spMkLst>
        </pc:spChg>
        <pc:spChg chg="mod">
          <ac:chgData name="Malla Ranne" userId="960b0e87-783b-448d-a173-0b61af3b4d87" providerId="ADAL" clId="{958C9EC7-BAE2-4B56-A8F9-CEFBFE410D65}" dt="2024-08-19T11:23:30.167" v="160" actId="1036"/>
          <ac:spMkLst>
            <pc:docMk/>
            <pc:sldMk cId="2314721252" sldId="2321"/>
            <ac:spMk id="26" creationId="{F271B1F8-93FE-0CFD-F50E-53DC3B8571B0}"/>
          </ac:spMkLst>
        </pc:spChg>
        <pc:spChg chg="mod">
          <ac:chgData name="Malla Ranne" userId="960b0e87-783b-448d-a173-0b61af3b4d87" providerId="ADAL" clId="{958C9EC7-BAE2-4B56-A8F9-CEFBFE410D65}" dt="2024-08-19T11:23:30.167" v="160" actId="1036"/>
          <ac:spMkLst>
            <pc:docMk/>
            <pc:sldMk cId="2314721252" sldId="2321"/>
            <ac:spMk id="27" creationId="{5502EEE7-7167-FCB6-12CA-17E206C63E18}"/>
          </ac:spMkLst>
        </pc:spChg>
        <pc:spChg chg="mod">
          <ac:chgData name="Malla Ranne" userId="960b0e87-783b-448d-a173-0b61af3b4d87" providerId="ADAL" clId="{958C9EC7-BAE2-4B56-A8F9-CEFBFE410D65}" dt="2024-08-19T11:23:30.167" v="160" actId="1036"/>
          <ac:spMkLst>
            <pc:docMk/>
            <pc:sldMk cId="2314721252" sldId="2321"/>
            <ac:spMk id="28" creationId="{2D2AB913-9FC3-64B7-E8D2-E1866D791E46}"/>
          </ac:spMkLst>
        </pc:spChg>
      </pc:sldChg>
      <pc:sldChg chg="modSp add del mod">
        <pc:chgData name="Malla Ranne" userId="960b0e87-783b-448d-a173-0b61af3b4d87" providerId="ADAL" clId="{958C9EC7-BAE2-4B56-A8F9-CEFBFE410D65}" dt="2024-08-19T11:26:03.542" v="308" actId="47"/>
        <pc:sldMkLst>
          <pc:docMk/>
          <pc:sldMk cId="621300520" sldId="2322"/>
        </pc:sldMkLst>
        <pc:spChg chg="mod">
          <ac:chgData name="Malla Ranne" userId="960b0e87-783b-448d-a173-0b61af3b4d87" providerId="ADAL" clId="{958C9EC7-BAE2-4B56-A8F9-CEFBFE410D65}" dt="2024-08-19T11:23:50.952" v="164" actId="27636"/>
          <ac:spMkLst>
            <pc:docMk/>
            <pc:sldMk cId="621300520" sldId="2322"/>
            <ac:spMk id="3" creationId="{B58472B5-0CE1-B968-CDC3-829D4C646537}"/>
          </ac:spMkLst>
        </pc:spChg>
        <pc:spChg chg="mod">
          <ac:chgData name="Malla Ranne" userId="960b0e87-783b-448d-a173-0b61af3b4d87" providerId="ADAL" clId="{958C9EC7-BAE2-4B56-A8F9-CEFBFE410D65}" dt="2024-08-19T11:22:50.927" v="8" actId="27636"/>
          <ac:spMkLst>
            <pc:docMk/>
            <pc:sldMk cId="621300520" sldId="2322"/>
            <ac:spMk id="5" creationId="{953D7355-2ADB-1D71-6133-9D551A1E40DF}"/>
          </ac:spMkLst>
        </pc:spChg>
      </pc:sldChg>
      <pc:sldChg chg="addSp delSp modSp new del mod modClrScheme chgLayout">
        <pc:chgData name="Malla Ranne" userId="960b0e87-783b-448d-a173-0b61af3b4d87" providerId="ADAL" clId="{958C9EC7-BAE2-4B56-A8F9-CEFBFE410D65}" dt="2024-08-19T11:24:38.358" v="200" actId="47"/>
        <pc:sldMkLst>
          <pc:docMk/>
          <pc:sldMk cId="67718901" sldId="2323"/>
        </pc:sldMkLst>
        <pc:spChg chg="del mod ord">
          <ac:chgData name="Malla Ranne" userId="960b0e87-783b-448d-a173-0b61af3b4d87" providerId="ADAL" clId="{958C9EC7-BAE2-4B56-A8F9-CEFBFE410D65}" dt="2024-08-19T11:24:07.956" v="168" actId="700"/>
          <ac:spMkLst>
            <pc:docMk/>
            <pc:sldMk cId="67718901" sldId="2323"/>
            <ac:spMk id="2" creationId="{ADC30034-8365-8161-CAA3-565A770F6223}"/>
          </ac:spMkLst>
        </pc:spChg>
        <pc:spChg chg="del mod ord">
          <ac:chgData name="Malla Ranne" userId="960b0e87-783b-448d-a173-0b61af3b4d87" providerId="ADAL" clId="{958C9EC7-BAE2-4B56-A8F9-CEFBFE410D65}" dt="2024-08-19T11:24:07.956" v="168" actId="700"/>
          <ac:spMkLst>
            <pc:docMk/>
            <pc:sldMk cId="67718901" sldId="2323"/>
            <ac:spMk id="3" creationId="{E143C6B1-2864-184A-DB24-8F82C4A27084}"/>
          </ac:spMkLst>
        </pc:spChg>
        <pc:spChg chg="mod ord">
          <ac:chgData name="Malla Ranne" userId="960b0e87-783b-448d-a173-0b61af3b4d87" providerId="ADAL" clId="{958C9EC7-BAE2-4B56-A8F9-CEFBFE410D65}" dt="2024-08-19T11:24:20.965" v="189" actId="700"/>
          <ac:spMkLst>
            <pc:docMk/>
            <pc:sldMk cId="67718901" sldId="2323"/>
            <ac:spMk id="4" creationId="{A28FB71A-03A0-1CDA-8F8A-16DC2635843E}"/>
          </ac:spMkLst>
        </pc:spChg>
        <pc:spChg chg="mod ord">
          <ac:chgData name="Malla Ranne" userId="960b0e87-783b-448d-a173-0b61af3b4d87" providerId="ADAL" clId="{958C9EC7-BAE2-4B56-A8F9-CEFBFE410D65}" dt="2024-08-19T11:24:20.965" v="189" actId="700"/>
          <ac:spMkLst>
            <pc:docMk/>
            <pc:sldMk cId="67718901" sldId="2323"/>
            <ac:spMk id="5" creationId="{5F848EBE-AD3F-943C-5654-8071169D86B0}"/>
          </ac:spMkLst>
        </pc:spChg>
        <pc:spChg chg="mod ord">
          <ac:chgData name="Malla Ranne" userId="960b0e87-783b-448d-a173-0b61af3b4d87" providerId="ADAL" clId="{958C9EC7-BAE2-4B56-A8F9-CEFBFE410D65}" dt="2024-08-19T11:24:20.965" v="189" actId="700"/>
          <ac:spMkLst>
            <pc:docMk/>
            <pc:sldMk cId="67718901" sldId="2323"/>
            <ac:spMk id="6" creationId="{57232331-EB52-7517-73CB-53945B70C18C}"/>
          </ac:spMkLst>
        </pc:spChg>
        <pc:spChg chg="del">
          <ac:chgData name="Malla Ranne" userId="960b0e87-783b-448d-a173-0b61af3b4d87" providerId="ADAL" clId="{958C9EC7-BAE2-4B56-A8F9-CEFBFE410D65}" dt="2024-08-19T11:24:07.956" v="168" actId="700"/>
          <ac:spMkLst>
            <pc:docMk/>
            <pc:sldMk cId="67718901" sldId="2323"/>
            <ac:spMk id="7" creationId="{8D68A7CD-C812-E2A7-E436-9E41CD8AB602}"/>
          </ac:spMkLst>
        </pc:spChg>
        <pc:spChg chg="add del mod ord">
          <ac:chgData name="Malla Ranne" userId="960b0e87-783b-448d-a173-0b61af3b4d87" providerId="ADAL" clId="{958C9EC7-BAE2-4B56-A8F9-CEFBFE410D65}" dt="2024-08-19T11:24:15.609" v="187" actId="700"/>
          <ac:spMkLst>
            <pc:docMk/>
            <pc:sldMk cId="67718901" sldId="2323"/>
            <ac:spMk id="8" creationId="{A728B25C-F73E-BEFD-9D74-2AA09776B4C6}"/>
          </ac:spMkLst>
        </pc:spChg>
        <pc:spChg chg="add del mod ord">
          <ac:chgData name="Malla Ranne" userId="960b0e87-783b-448d-a173-0b61af3b4d87" providerId="ADAL" clId="{958C9EC7-BAE2-4B56-A8F9-CEFBFE410D65}" dt="2024-08-19T11:24:15.609" v="187" actId="700"/>
          <ac:spMkLst>
            <pc:docMk/>
            <pc:sldMk cId="67718901" sldId="2323"/>
            <ac:spMk id="9" creationId="{74389A39-7F44-86D7-1B49-794C05EA3259}"/>
          </ac:spMkLst>
        </pc:spChg>
        <pc:spChg chg="add del mod ord">
          <ac:chgData name="Malla Ranne" userId="960b0e87-783b-448d-a173-0b61af3b4d87" providerId="ADAL" clId="{958C9EC7-BAE2-4B56-A8F9-CEFBFE410D65}" dt="2024-08-19T11:24:15.609" v="187" actId="700"/>
          <ac:spMkLst>
            <pc:docMk/>
            <pc:sldMk cId="67718901" sldId="2323"/>
            <ac:spMk id="10" creationId="{1C1B5C5A-749C-9E05-BF88-1E265E2677F9}"/>
          </ac:spMkLst>
        </pc:spChg>
        <pc:spChg chg="add del mod ord">
          <ac:chgData name="Malla Ranne" userId="960b0e87-783b-448d-a173-0b61af3b4d87" providerId="ADAL" clId="{958C9EC7-BAE2-4B56-A8F9-CEFBFE410D65}" dt="2024-08-19T11:24:20.965" v="189" actId="700"/>
          <ac:spMkLst>
            <pc:docMk/>
            <pc:sldMk cId="67718901" sldId="2323"/>
            <ac:spMk id="12" creationId="{3364E765-EBDD-DD57-1195-04FBAA516727}"/>
          </ac:spMkLst>
        </pc:spChg>
        <pc:spChg chg="add del mod ord">
          <ac:chgData name="Malla Ranne" userId="960b0e87-783b-448d-a173-0b61af3b4d87" providerId="ADAL" clId="{958C9EC7-BAE2-4B56-A8F9-CEFBFE410D65}" dt="2024-08-19T11:24:20.965" v="189" actId="700"/>
          <ac:spMkLst>
            <pc:docMk/>
            <pc:sldMk cId="67718901" sldId="2323"/>
            <ac:spMk id="13" creationId="{27C22944-9284-ACE1-F3F3-75E6AD7798E5}"/>
          </ac:spMkLst>
        </pc:spChg>
        <pc:spChg chg="add del mod ord">
          <ac:chgData name="Malla Ranne" userId="960b0e87-783b-448d-a173-0b61af3b4d87" providerId="ADAL" clId="{958C9EC7-BAE2-4B56-A8F9-CEFBFE410D65}" dt="2024-08-19T11:24:20.965" v="189" actId="700"/>
          <ac:spMkLst>
            <pc:docMk/>
            <pc:sldMk cId="67718901" sldId="2323"/>
            <ac:spMk id="14" creationId="{B26E38FE-39F8-AF0F-A3D7-F1B70BE53E32}"/>
          </ac:spMkLst>
        </pc:spChg>
        <pc:spChg chg="add mod ord">
          <ac:chgData name="Malla Ranne" userId="960b0e87-783b-448d-a173-0b61af3b4d87" providerId="ADAL" clId="{958C9EC7-BAE2-4B56-A8F9-CEFBFE410D65}" dt="2024-08-19T11:24:20.975" v="190" actId="27636"/>
          <ac:spMkLst>
            <pc:docMk/>
            <pc:sldMk cId="67718901" sldId="2323"/>
            <ac:spMk id="15" creationId="{727ADA08-DE95-C411-8EFB-0F1055CA0778}"/>
          </ac:spMkLst>
        </pc:spChg>
        <pc:spChg chg="add mod ord">
          <ac:chgData name="Malla Ranne" userId="960b0e87-783b-448d-a173-0b61af3b4d87" providerId="ADAL" clId="{958C9EC7-BAE2-4B56-A8F9-CEFBFE410D65}" dt="2024-08-19T11:24:20.965" v="189" actId="700"/>
          <ac:spMkLst>
            <pc:docMk/>
            <pc:sldMk cId="67718901" sldId="2323"/>
            <ac:spMk id="16" creationId="{880E604A-0835-624F-272B-36752ED2735A}"/>
          </ac:spMkLst>
        </pc:spChg>
        <pc:spChg chg="add mod ord">
          <ac:chgData name="Malla Ranne" userId="960b0e87-783b-448d-a173-0b61af3b4d87" providerId="ADAL" clId="{958C9EC7-BAE2-4B56-A8F9-CEFBFE410D65}" dt="2024-08-19T11:24:20.965" v="189" actId="700"/>
          <ac:spMkLst>
            <pc:docMk/>
            <pc:sldMk cId="67718901" sldId="2323"/>
            <ac:spMk id="17" creationId="{EBA0EB5E-97A3-0B27-6C41-9565B96D1477}"/>
          </ac:spMkLst>
        </pc:spChg>
        <pc:graphicFrameChg chg="add mod ord modVis replST">
          <ac:chgData name="Malla Ranne" userId="960b0e87-783b-448d-a173-0b61af3b4d87" providerId="ADAL" clId="{958C9EC7-BAE2-4B56-A8F9-CEFBFE410D65}" dt="2024-08-19T11:24:21.497" v="194"/>
          <ac:graphicFrameMkLst>
            <pc:docMk/>
            <pc:sldMk cId="67718901" sldId="2323"/>
            <ac:graphicFrameMk id="11" creationId="{68210662-BA7B-D135-095C-E7BF49554AFF}"/>
          </ac:graphicFrameMkLst>
        </pc:graphicFrameChg>
      </pc:sldChg>
      <pc:sldChg chg="addSp delSp modSp new mod">
        <pc:chgData name="Malla Ranne" userId="960b0e87-783b-448d-a173-0b61af3b4d87" providerId="ADAL" clId="{958C9EC7-BAE2-4B56-A8F9-CEFBFE410D65}" dt="2024-08-19T11:25:14.967" v="251"/>
        <pc:sldMkLst>
          <pc:docMk/>
          <pc:sldMk cId="3820825327" sldId="2323"/>
        </pc:sldMkLst>
        <pc:spChg chg="del">
          <ac:chgData name="Malla Ranne" userId="960b0e87-783b-448d-a173-0b61af3b4d87" providerId="ADAL" clId="{958C9EC7-BAE2-4B56-A8F9-CEFBFE410D65}" dt="2024-08-19T11:25:14.119" v="250" actId="478"/>
          <ac:spMkLst>
            <pc:docMk/>
            <pc:sldMk cId="3820825327" sldId="2323"/>
            <ac:spMk id="2" creationId="{E3BDAA48-85B1-58A1-4DB9-274B924F8897}"/>
          </ac:spMkLst>
        </pc:spChg>
        <pc:spChg chg="mod">
          <ac:chgData name="Malla Ranne" userId="960b0e87-783b-448d-a173-0b61af3b4d87" providerId="ADAL" clId="{958C9EC7-BAE2-4B56-A8F9-CEFBFE410D65}" dt="2024-08-19T11:25:00.160" v="205" actId="20577"/>
          <ac:spMkLst>
            <pc:docMk/>
            <pc:sldMk cId="3820825327" sldId="2323"/>
            <ac:spMk id="3" creationId="{6B59FE91-BAFB-4A67-470B-06317E211EBA}"/>
          </ac:spMkLst>
        </pc:spChg>
        <pc:spChg chg="mod">
          <ac:chgData name="Malla Ranne" userId="960b0e87-783b-448d-a173-0b61af3b4d87" providerId="ADAL" clId="{958C9EC7-BAE2-4B56-A8F9-CEFBFE410D65}" dt="2024-08-19T11:25:04.302" v="208" actId="948"/>
          <ac:spMkLst>
            <pc:docMk/>
            <pc:sldMk cId="3820825327" sldId="2323"/>
            <ac:spMk id="7" creationId="{92E1E403-DB1E-D822-F779-AAB965ADFFCD}"/>
          </ac:spMkLst>
        </pc:spChg>
        <pc:spChg chg="add del mod modVis">
          <ac:chgData name="Malla Ranne" userId="960b0e87-783b-448d-a173-0b61af3b4d87" providerId="ADAL" clId="{958C9EC7-BAE2-4B56-A8F9-CEFBFE410D65}" dt="2024-08-19T11:25:04.344" v="233"/>
          <ac:spMkLst>
            <pc:docMk/>
            <pc:sldMk cId="3820825327" sldId="2323"/>
            <ac:spMk id="8" creationId="{5FAA7178-71BE-94D2-1F87-5016E00DE3D2}"/>
          </ac:spMkLst>
        </pc:spChg>
        <pc:spChg chg="add mod">
          <ac:chgData name="Malla Ranne" userId="960b0e87-783b-448d-a173-0b61af3b4d87" providerId="ADAL" clId="{958C9EC7-BAE2-4B56-A8F9-CEFBFE410D65}" dt="2024-08-19T11:25:10.071" v="249"/>
          <ac:spMkLst>
            <pc:docMk/>
            <pc:sldMk cId="3820825327" sldId="2323"/>
            <ac:spMk id="11" creationId="{43BEFC84-2EC5-953E-12ED-BC6B31C9CC15}"/>
          </ac:spMkLst>
        </pc:spChg>
        <pc:spChg chg="add mod">
          <ac:chgData name="Malla Ranne" userId="960b0e87-783b-448d-a173-0b61af3b4d87" providerId="ADAL" clId="{958C9EC7-BAE2-4B56-A8F9-CEFBFE410D65}" dt="2024-08-19T11:25:14.967" v="251"/>
          <ac:spMkLst>
            <pc:docMk/>
            <pc:sldMk cId="3820825327" sldId="2323"/>
            <ac:spMk id="13" creationId="{B9D0D383-2836-2061-799E-4E39E6FF8068}"/>
          </ac:spMkLst>
        </pc:spChg>
        <pc:graphicFrameChg chg="add mod ord modVis replST">
          <ac:chgData name="Malla Ranne" userId="960b0e87-783b-448d-a173-0b61af3b4d87" providerId="ADAL" clId="{958C9EC7-BAE2-4B56-A8F9-CEFBFE410D65}" dt="2024-08-19T11:25:04.370" v="248"/>
          <ac:graphicFrameMkLst>
            <pc:docMk/>
            <pc:sldMk cId="3820825327" sldId="2323"/>
            <ac:graphicFrameMk id="9" creationId="{8066EEBF-BC5C-3147-077A-84377863C2A9}"/>
          </ac:graphicFrameMkLst>
        </pc:graphicFrameChg>
        <pc:graphicFrameChg chg="add mod">
          <ac:chgData name="Malla Ranne" userId="960b0e87-783b-448d-a173-0b61af3b4d87" providerId="ADAL" clId="{958C9EC7-BAE2-4B56-A8F9-CEFBFE410D65}" dt="2024-08-19T11:25:10.071" v="249"/>
          <ac:graphicFrameMkLst>
            <pc:docMk/>
            <pc:sldMk cId="3820825327" sldId="2323"/>
            <ac:graphicFrameMk id="10" creationId="{B0F4433C-48F1-DCA0-F3B8-3E159EE7E0D4}"/>
          </ac:graphicFrameMkLst>
        </pc:graphicFrameChg>
        <pc:graphicFrameChg chg="add mod">
          <ac:chgData name="Malla Ranne" userId="960b0e87-783b-448d-a173-0b61af3b4d87" providerId="ADAL" clId="{958C9EC7-BAE2-4B56-A8F9-CEFBFE410D65}" dt="2024-08-19T11:25:14.967" v="251"/>
          <ac:graphicFrameMkLst>
            <pc:docMk/>
            <pc:sldMk cId="3820825327" sldId="2323"/>
            <ac:graphicFrameMk id="12" creationId="{3592F4BD-DE8E-5545-307F-A017D5EEC1B5}"/>
          </ac:graphicFrameMkLst>
        </pc:graphicFrameChg>
      </pc:sldChg>
      <pc:sldChg chg="addSp delSp modSp new mod">
        <pc:chgData name="Malla Ranne" userId="960b0e87-783b-448d-a173-0b61af3b4d87" providerId="ADAL" clId="{958C9EC7-BAE2-4B56-A8F9-CEFBFE410D65}" dt="2024-08-19T11:25:55.351" v="307"/>
        <pc:sldMkLst>
          <pc:docMk/>
          <pc:sldMk cId="2946749100" sldId="2324"/>
        </pc:sldMkLst>
        <pc:spChg chg="del">
          <ac:chgData name="Malla Ranne" userId="960b0e87-783b-448d-a173-0b61af3b4d87" providerId="ADAL" clId="{958C9EC7-BAE2-4B56-A8F9-CEFBFE410D65}" dt="2024-08-19T11:25:53.718" v="306" actId="478"/>
          <ac:spMkLst>
            <pc:docMk/>
            <pc:sldMk cId="2946749100" sldId="2324"/>
            <ac:spMk id="2" creationId="{D7676A4A-E44E-098A-73EE-70D0FA1FDBDE}"/>
          </ac:spMkLst>
        </pc:spChg>
        <pc:spChg chg="mod">
          <ac:chgData name="Malla Ranne" userId="960b0e87-783b-448d-a173-0b61af3b4d87" providerId="ADAL" clId="{958C9EC7-BAE2-4B56-A8F9-CEFBFE410D65}" dt="2024-08-19T11:25:36.291" v="261" actId="20577"/>
          <ac:spMkLst>
            <pc:docMk/>
            <pc:sldMk cId="2946749100" sldId="2324"/>
            <ac:spMk id="3" creationId="{E637B28C-DEED-1C7E-B6E9-2A7D7023E38A}"/>
          </ac:spMkLst>
        </pc:spChg>
        <pc:spChg chg="mod">
          <ac:chgData name="Malla Ranne" userId="960b0e87-783b-448d-a173-0b61af3b4d87" providerId="ADAL" clId="{958C9EC7-BAE2-4B56-A8F9-CEFBFE410D65}" dt="2024-08-19T11:25:42.498" v="264" actId="948"/>
          <ac:spMkLst>
            <pc:docMk/>
            <pc:sldMk cId="2946749100" sldId="2324"/>
            <ac:spMk id="7" creationId="{FC2DEDA8-ABFC-ECC7-D999-CCB23A6ACB4B}"/>
          </ac:spMkLst>
        </pc:spChg>
        <pc:spChg chg="add del mod modVis">
          <ac:chgData name="Malla Ranne" userId="960b0e87-783b-448d-a173-0b61af3b4d87" providerId="ADAL" clId="{958C9EC7-BAE2-4B56-A8F9-CEFBFE410D65}" dt="2024-08-19T11:25:42.514" v="289"/>
          <ac:spMkLst>
            <pc:docMk/>
            <pc:sldMk cId="2946749100" sldId="2324"/>
            <ac:spMk id="8" creationId="{B4292505-C005-79EE-232D-BA25A0275115}"/>
          </ac:spMkLst>
        </pc:spChg>
        <pc:graphicFrameChg chg="add mod ord modVis replST">
          <ac:chgData name="Malla Ranne" userId="960b0e87-783b-448d-a173-0b61af3b4d87" providerId="ADAL" clId="{958C9EC7-BAE2-4B56-A8F9-CEFBFE410D65}" dt="2024-08-19T11:25:42.540" v="304"/>
          <ac:graphicFrameMkLst>
            <pc:docMk/>
            <pc:sldMk cId="2946749100" sldId="2324"/>
            <ac:graphicFrameMk id="9" creationId="{BDAAA6EF-AE12-0ABA-7FD5-E2568D559CAC}"/>
          </ac:graphicFrameMkLst>
        </pc:graphicFrameChg>
        <pc:graphicFrameChg chg="add mod">
          <ac:chgData name="Malla Ranne" userId="960b0e87-783b-448d-a173-0b61af3b4d87" providerId="ADAL" clId="{958C9EC7-BAE2-4B56-A8F9-CEFBFE410D65}" dt="2024-08-19T11:25:50.130" v="305"/>
          <ac:graphicFrameMkLst>
            <pc:docMk/>
            <pc:sldMk cId="2946749100" sldId="2324"/>
            <ac:graphicFrameMk id="10" creationId="{AC7A41DD-9626-66FD-6E61-2A0326E1D830}"/>
          </ac:graphicFrameMkLst>
        </pc:graphicFrameChg>
        <pc:graphicFrameChg chg="add mod">
          <ac:chgData name="Malla Ranne" userId="960b0e87-783b-448d-a173-0b61af3b4d87" providerId="ADAL" clId="{958C9EC7-BAE2-4B56-A8F9-CEFBFE410D65}" dt="2024-08-19T11:25:55.351" v="307"/>
          <ac:graphicFrameMkLst>
            <pc:docMk/>
            <pc:sldMk cId="2946749100" sldId="2324"/>
            <ac:graphicFrameMk id="11" creationId="{172AB78C-B742-5D5B-27DC-AE6D220501B6}"/>
          </ac:graphicFrameMkLst>
        </pc:graphicFrameChg>
      </pc:sldChg>
      <pc:sldChg chg="addSp delSp modSp new del mod modClrScheme chgLayout">
        <pc:chgData name="Malla Ranne" userId="960b0e87-783b-448d-a173-0b61af3b4d87" providerId="ADAL" clId="{958C9EC7-BAE2-4B56-A8F9-CEFBFE410D65}" dt="2024-08-19T11:30:25.720" v="344" actId="47"/>
        <pc:sldMkLst>
          <pc:docMk/>
          <pc:sldMk cId="1505504397" sldId="2325"/>
        </pc:sldMkLst>
        <pc:spChg chg="del mod ord">
          <ac:chgData name="Malla Ranne" userId="960b0e87-783b-448d-a173-0b61af3b4d87" providerId="ADAL" clId="{958C9EC7-BAE2-4B56-A8F9-CEFBFE410D65}" dt="2024-08-19T11:26:34.110" v="310" actId="700"/>
          <ac:spMkLst>
            <pc:docMk/>
            <pc:sldMk cId="1505504397" sldId="2325"/>
            <ac:spMk id="2" creationId="{88C86E5D-DCE3-1544-02EE-11A435CCC631}"/>
          </ac:spMkLst>
        </pc:spChg>
        <pc:spChg chg="del mod ord">
          <ac:chgData name="Malla Ranne" userId="960b0e87-783b-448d-a173-0b61af3b4d87" providerId="ADAL" clId="{958C9EC7-BAE2-4B56-A8F9-CEFBFE410D65}" dt="2024-08-19T11:26:34.110" v="310" actId="700"/>
          <ac:spMkLst>
            <pc:docMk/>
            <pc:sldMk cId="1505504397" sldId="2325"/>
            <ac:spMk id="3" creationId="{06EC5FCD-AE43-7524-9DAB-661BA2564EF1}"/>
          </ac:spMkLst>
        </pc:spChg>
        <pc:spChg chg="mod ord">
          <ac:chgData name="Malla Ranne" userId="960b0e87-783b-448d-a173-0b61af3b4d87" providerId="ADAL" clId="{958C9EC7-BAE2-4B56-A8F9-CEFBFE410D65}" dt="2024-08-19T11:27:09.375" v="338" actId="700"/>
          <ac:spMkLst>
            <pc:docMk/>
            <pc:sldMk cId="1505504397" sldId="2325"/>
            <ac:spMk id="4" creationId="{B43B921D-8550-04D2-7101-C4DB248C02A4}"/>
          </ac:spMkLst>
        </pc:spChg>
        <pc:spChg chg="mod ord">
          <ac:chgData name="Malla Ranne" userId="960b0e87-783b-448d-a173-0b61af3b4d87" providerId="ADAL" clId="{958C9EC7-BAE2-4B56-A8F9-CEFBFE410D65}" dt="2024-08-19T11:27:09.375" v="338" actId="700"/>
          <ac:spMkLst>
            <pc:docMk/>
            <pc:sldMk cId="1505504397" sldId="2325"/>
            <ac:spMk id="5" creationId="{4D313D99-067D-F4E0-5766-22FD64583C8D}"/>
          </ac:spMkLst>
        </pc:spChg>
        <pc:spChg chg="mod ord">
          <ac:chgData name="Malla Ranne" userId="960b0e87-783b-448d-a173-0b61af3b4d87" providerId="ADAL" clId="{958C9EC7-BAE2-4B56-A8F9-CEFBFE410D65}" dt="2024-08-19T11:27:09.375" v="338" actId="700"/>
          <ac:spMkLst>
            <pc:docMk/>
            <pc:sldMk cId="1505504397" sldId="2325"/>
            <ac:spMk id="6" creationId="{D5E1960F-190E-5933-0799-7331F7B23A17}"/>
          </ac:spMkLst>
        </pc:spChg>
        <pc:spChg chg="del">
          <ac:chgData name="Malla Ranne" userId="960b0e87-783b-448d-a173-0b61af3b4d87" providerId="ADAL" clId="{958C9EC7-BAE2-4B56-A8F9-CEFBFE410D65}" dt="2024-08-19T11:26:34.110" v="310" actId="700"/>
          <ac:spMkLst>
            <pc:docMk/>
            <pc:sldMk cId="1505504397" sldId="2325"/>
            <ac:spMk id="7" creationId="{992DD6C9-7ADE-A0F5-5DF9-B00C82C5E7BA}"/>
          </ac:spMkLst>
        </pc:spChg>
        <pc:spChg chg="add del mod ord">
          <ac:chgData name="Malla Ranne" userId="960b0e87-783b-448d-a173-0b61af3b4d87" providerId="ADAL" clId="{958C9EC7-BAE2-4B56-A8F9-CEFBFE410D65}" dt="2024-08-19T11:26:41.504" v="329" actId="700"/>
          <ac:spMkLst>
            <pc:docMk/>
            <pc:sldMk cId="1505504397" sldId="2325"/>
            <ac:spMk id="8" creationId="{43E2ECF7-B9F7-9E94-E338-23BD05F38A78}"/>
          </ac:spMkLst>
        </pc:spChg>
        <pc:spChg chg="add del mod ord">
          <ac:chgData name="Malla Ranne" userId="960b0e87-783b-448d-a173-0b61af3b4d87" providerId="ADAL" clId="{958C9EC7-BAE2-4B56-A8F9-CEFBFE410D65}" dt="2024-08-19T11:26:41.504" v="329" actId="700"/>
          <ac:spMkLst>
            <pc:docMk/>
            <pc:sldMk cId="1505504397" sldId="2325"/>
            <ac:spMk id="9" creationId="{C20E8220-8F17-F29B-60B7-DD2F0D230D8A}"/>
          </ac:spMkLst>
        </pc:spChg>
        <pc:spChg chg="add del mod ord">
          <ac:chgData name="Malla Ranne" userId="960b0e87-783b-448d-a173-0b61af3b4d87" providerId="ADAL" clId="{958C9EC7-BAE2-4B56-A8F9-CEFBFE410D65}" dt="2024-08-19T11:26:41.504" v="329" actId="700"/>
          <ac:spMkLst>
            <pc:docMk/>
            <pc:sldMk cId="1505504397" sldId="2325"/>
            <ac:spMk id="10" creationId="{51773A85-2724-EEAC-DB4F-70D1C40C7B55}"/>
          </ac:spMkLst>
        </pc:spChg>
        <pc:spChg chg="add del mod ord">
          <ac:chgData name="Malla Ranne" userId="960b0e87-783b-448d-a173-0b61af3b4d87" providerId="ADAL" clId="{958C9EC7-BAE2-4B56-A8F9-CEFBFE410D65}" dt="2024-08-19T11:26:51.129" v="331" actId="700"/>
          <ac:spMkLst>
            <pc:docMk/>
            <pc:sldMk cId="1505504397" sldId="2325"/>
            <ac:spMk id="12" creationId="{7AE9B8EF-0B8D-07BF-61E7-0BABDA2E2C81}"/>
          </ac:spMkLst>
        </pc:spChg>
        <pc:spChg chg="add del mod ord">
          <ac:chgData name="Malla Ranne" userId="960b0e87-783b-448d-a173-0b61af3b4d87" providerId="ADAL" clId="{958C9EC7-BAE2-4B56-A8F9-CEFBFE410D65}" dt="2024-08-19T11:26:51.129" v="331" actId="700"/>
          <ac:spMkLst>
            <pc:docMk/>
            <pc:sldMk cId="1505504397" sldId="2325"/>
            <ac:spMk id="13" creationId="{09D0250B-88C2-4D92-B4FA-CFC9B14F8F01}"/>
          </ac:spMkLst>
        </pc:spChg>
        <pc:spChg chg="add del mod ord">
          <ac:chgData name="Malla Ranne" userId="960b0e87-783b-448d-a173-0b61af3b4d87" providerId="ADAL" clId="{958C9EC7-BAE2-4B56-A8F9-CEFBFE410D65}" dt="2024-08-19T11:26:51.129" v="331" actId="700"/>
          <ac:spMkLst>
            <pc:docMk/>
            <pc:sldMk cId="1505504397" sldId="2325"/>
            <ac:spMk id="14" creationId="{AEFB65C3-72A9-1769-B25C-FD4EC62A4605}"/>
          </ac:spMkLst>
        </pc:spChg>
        <pc:spChg chg="add del mod ord">
          <ac:chgData name="Malla Ranne" userId="960b0e87-783b-448d-a173-0b61af3b4d87" providerId="ADAL" clId="{958C9EC7-BAE2-4B56-A8F9-CEFBFE410D65}" dt="2024-08-19T11:26:51.129" v="331" actId="700"/>
          <ac:spMkLst>
            <pc:docMk/>
            <pc:sldMk cId="1505504397" sldId="2325"/>
            <ac:spMk id="15" creationId="{118D583F-B91A-1FF5-54C9-9A0A4AE1DA12}"/>
          </ac:spMkLst>
        </pc:spChg>
        <pc:spChg chg="add del mod ord">
          <ac:chgData name="Malla Ranne" userId="960b0e87-783b-448d-a173-0b61af3b4d87" providerId="ADAL" clId="{958C9EC7-BAE2-4B56-A8F9-CEFBFE410D65}" dt="2024-08-19T11:26:56.217" v="333" actId="700"/>
          <ac:spMkLst>
            <pc:docMk/>
            <pc:sldMk cId="1505504397" sldId="2325"/>
            <ac:spMk id="16" creationId="{9F13EB74-CE58-849B-37CB-4C992B60A310}"/>
          </ac:spMkLst>
        </pc:spChg>
        <pc:spChg chg="add del mod ord">
          <ac:chgData name="Malla Ranne" userId="960b0e87-783b-448d-a173-0b61af3b4d87" providerId="ADAL" clId="{958C9EC7-BAE2-4B56-A8F9-CEFBFE410D65}" dt="2024-08-19T11:26:56.217" v="333" actId="700"/>
          <ac:spMkLst>
            <pc:docMk/>
            <pc:sldMk cId="1505504397" sldId="2325"/>
            <ac:spMk id="17" creationId="{848CCA9B-2542-CD03-626C-88C70EF89615}"/>
          </ac:spMkLst>
        </pc:spChg>
        <pc:spChg chg="add del mod ord">
          <ac:chgData name="Malla Ranne" userId="960b0e87-783b-448d-a173-0b61af3b4d87" providerId="ADAL" clId="{958C9EC7-BAE2-4B56-A8F9-CEFBFE410D65}" dt="2024-08-19T11:26:56.217" v="333" actId="700"/>
          <ac:spMkLst>
            <pc:docMk/>
            <pc:sldMk cId="1505504397" sldId="2325"/>
            <ac:spMk id="18" creationId="{1ACC9E03-BDB5-A605-658F-AF458AFCE985}"/>
          </ac:spMkLst>
        </pc:spChg>
        <pc:spChg chg="add del mod ord">
          <ac:chgData name="Malla Ranne" userId="960b0e87-783b-448d-a173-0b61af3b4d87" providerId="ADAL" clId="{958C9EC7-BAE2-4B56-A8F9-CEFBFE410D65}" dt="2024-08-19T11:26:56.217" v="333" actId="700"/>
          <ac:spMkLst>
            <pc:docMk/>
            <pc:sldMk cId="1505504397" sldId="2325"/>
            <ac:spMk id="19" creationId="{5F4C2E78-9907-13C0-0251-F6A1CFEF5DF4}"/>
          </ac:spMkLst>
        </pc:spChg>
        <pc:spChg chg="add del mod ord">
          <ac:chgData name="Malla Ranne" userId="960b0e87-783b-448d-a173-0b61af3b4d87" providerId="ADAL" clId="{958C9EC7-BAE2-4B56-A8F9-CEFBFE410D65}" dt="2024-08-19T11:27:00.147" v="334" actId="700"/>
          <ac:spMkLst>
            <pc:docMk/>
            <pc:sldMk cId="1505504397" sldId="2325"/>
            <ac:spMk id="20" creationId="{3FBD1CB7-B3D7-FFFA-3C51-6EF9455564C4}"/>
          </ac:spMkLst>
        </pc:spChg>
        <pc:spChg chg="add del mod ord">
          <ac:chgData name="Malla Ranne" userId="960b0e87-783b-448d-a173-0b61af3b4d87" providerId="ADAL" clId="{958C9EC7-BAE2-4B56-A8F9-CEFBFE410D65}" dt="2024-08-19T11:27:06.747" v="336" actId="700"/>
          <ac:spMkLst>
            <pc:docMk/>
            <pc:sldMk cId="1505504397" sldId="2325"/>
            <ac:spMk id="21" creationId="{A4BFD5F3-52EB-8F9B-C6B1-C77C187EAB1D}"/>
          </ac:spMkLst>
        </pc:spChg>
        <pc:spChg chg="add del mod ord">
          <ac:chgData name="Malla Ranne" userId="960b0e87-783b-448d-a173-0b61af3b4d87" providerId="ADAL" clId="{958C9EC7-BAE2-4B56-A8F9-CEFBFE410D65}" dt="2024-08-19T11:27:06.747" v="336" actId="700"/>
          <ac:spMkLst>
            <pc:docMk/>
            <pc:sldMk cId="1505504397" sldId="2325"/>
            <ac:spMk id="22" creationId="{ED5135D0-9C9F-D519-FE6F-FD57B67532F8}"/>
          </ac:spMkLst>
        </pc:spChg>
        <pc:spChg chg="add del mod ord">
          <ac:chgData name="Malla Ranne" userId="960b0e87-783b-448d-a173-0b61af3b4d87" providerId="ADAL" clId="{958C9EC7-BAE2-4B56-A8F9-CEFBFE410D65}" dt="2024-08-19T11:27:06.747" v="336" actId="700"/>
          <ac:spMkLst>
            <pc:docMk/>
            <pc:sldMk cId="1505504397" sldId="2325"/>
            <ac:spMk id="23" creationId="{6CC797DB-C66F-5900-438E-58BF2EF947D9}"/>
          </ac:spMkLst>
        </pc:spChg>
        <pc:spChg chg="add del mod ord">
          <ac:chgData name="Malla Ranne" userId="960b0e87-783b-448d-a173-0b61af3b4d87" providerId="ADAL" clId="{958C9EC7-BAE2-4B56-A8F9-CEFBFE410D65}" dt="2024-08-19T11:27:09.375" v="338" actId="700"/>
          <ac:spMkLst>
            <pc:docMk/>
            <pc:sldMk cId="1505504397" sldId="2325"/>
            <ac:spMk id="24" creationId="{B9BABE34-4970-E72B-2FF7-A370030AE75C}"/>
          </ac:spMkLst>
        </pc:spChg>
        <pc:spChg chg="add del mod ord">
          <ac:chgData name="Malla Ranne" userId="960b0e87-783b-448d-a173-0b61af3b4d87" providerId="ADAL" clId="{958C9EC7-BAE2-4B56-A8F9-CEFBFE410D65}" dt="2024-08-19T11:27:09.375" v="338" actId="700"/>
          <ac:spMkLst>
            <pc:docMk/>
            <pc:sldMk cId="1505504397" sldId="2325"/>
            <ac:spMk id="25" creationId="{06F128DE-E5B2-5A0B-A720-E54AFD92326C}"/>
          </ac:spMkLst>
        </pc:spChg>
        <pc:spChg chg="add del mod ord">
          <ac:chgData name="Malla Ranne" userId="960b0e87-783b-448d-a173-0b61af3b4d87" providerId="ADAL" clId="{958C9EC7-BAE2-4B56-A8F9-CEFBFE410D65}" dt="2024-08-19T11:27:09.375" v="338" actId="700"/>
          <ac:spMkLst>
            <pc:docMk/>
            <pc:sldMk cId="1505504397" sldId="2325"/>
            <ac:spMk id="26" creationId="{DF13F3B8-A5FF-7A08-AF03-6EFE806D273E}"/>
          </ac:spMkLst>
        </pc:spChg>
        <pc:spChg chg="add mod ord">
          <ac:chgData name="Malla Ranne" userId="960b0e87-783b-448d-a173-0b61af3b4d87" providerId="ADAL" clId="{958C9EC7-BAE2-4B56-A8F9-CEFBFE410D65}" dt="2024-08-19T11:27:09.375" v="339" actId="27636"/>
          <ac:spMkLst>
            <pc:docMk/>
            <pc:sldMk cId="1505504397" sldId="2325"/>
            <ac:spMk id="27" creationId="{1398C7B6-B661-52E5-A5E4-D3A6BC4BCC4C}"/>
          </ac:spMkLst>
        </pc:spChg>
        <pc:spChg chg="add mod ord">
          <ac:chgData name="Malla Ranne" userId="960b0e87-783b-448d-a173-0b61af3b4d87" providerId="ADAL" clId="{958C9EC7-BAE2-4B56-A8F9-CEFBFE410D65}" dt="2024-08-19T11:27:09.375" v="338" actId="700"/>
          <ac:spMkLst>
            <pc:docMk/>
            <pc:sldMk cId="1505504397" sldId="2325"/>
            <ac:spMk id="28" creationId="{D8883B65-AD85-5BA5-92D1-648879D5718C}"/>
          </ac:spMkLst>
        </pc:spChg>
        <pc:spChg chg="add mod ord">
          <ac:chgData name="Malla Ranne" userId="960b0e87-783b-448d-a173-0b61af3b4d87" providerId="ADAL" clId="{958C9EC7-BAE2-4B56-A8F9-CEFBFE410D65}" dt="2024-08-19T11:27:09.375" v="338" actId="700"/>
          <ac:spMkLst>
            <pc:docMk/>
            <pc:sldMk cId="1505504397" sldId="2325"/>
            <ac:spMk id="29" creationId="{B8115393-F651-D80C-ACAD-717C039AE649}"/>
          </ac:spMkLst>
        </pc:spChg>
        <pc:graphicFrameChg chg="add mod ord modVis replST">
          <ac:chgData name="Malla Ranne" userId="960b0e87-783b-448d-a173-0b61af3b4d87" providerId="ADAL" clId="{958C9EC7-BAE2-4B56-A8F9-CEFBFE410D65}" dt="2024-08-19T11:27:09.897" v="343"/>
          <ac:graphicFrameMkLst>
            <pc:docMk/>
            <pc:sldMk cId="1505504397" sldId="2325"/>
            <ac:graphicFrameMk id="11" creationId="{E4CD4E03-5A72-3B64-A400-8F403CFDDBDA}"/>
          </ac:graphicFrameMkLst>
        </pc:graphicFrameChg>
      </pc:sldChg>
      <pc:sldMasterChg chg="addSp delSp modSp mod">
        <pc:chgData name="Malla Ranne" userId="960b0e87-783b-448d-a173-0b61af3b4d87" providerId="ADAL" clId="{958C9EC7-BAE2-4B56-A8F9-CEFBFE410D65}" dt="2024-08-19T11:22:51.699" v="94"/>
        <pc:sldMasterMkLst>
          <pc:docMk/>
          <pc:sldMasterMk cId="729942253" sldId="2147483648"/>
        </pc:sldMasterMkLst>
        <pc:spChg chg="add del mod modVis">
          <ac:chgData name="Malla Ranne" userId="960b0e87-783b-448d-a173-0b61af3b4d87" providerId="ADAL" clId="{958C9EC7-BAE2-4B56-A8F9-CEFBFE410D65}" dt="2024-08-19T11:22:51.593" v="79"/>
          <ac:spMkLst>
            <pc:docMk/>
            <pc:sldMasterMk cId="729942253" sldId="2147483648"/>
            <ac:spMk id="2" creationId="{72C0FA91-B914-162E-F396-5D7DA91165B9}"/>
          </ac:spMkLst>
        </pc:spChg>
        <pc:spChg chg="mod">
          <ac:chgData name="Malla Ranne" userId="960b0e87-783b-448d-a173-0b61af3b4d87" providerId="ADAL" clId="{958C9EC7-BAE2-4B56-A8F9-CEFBFE410D65}" dt="2024-08-19T11:22:51.373" v="10" actId="948"/>
          <ac:spMkLst>
            <pc:docMk/>
            <pc:sldMasterMk cId="729942253" sldId="2147483648"/>
            <ac:spMk id="27" creationId="{00000000-0000-0000-0000-000000000000}"/>
          </ac:spMkLst>
        </pc:spChg>
        <pc:graphicFrameChg chg="add mod ord modVis replST">
          <ac:chgData name="Malla Ranne" userId="960b0e87-783b-448d-a173-0b61af3b4d87" providerId="ADAL" clId="{958C9EC7-BAE2-4B56-A8F9-CEFBFE410D65}" dt="2024-08-19T11:22:51.699" v="94"/>
          <ac:graphicFrameMkLst>
            <pc:docMk/>
            <pc:sldMasterMk cId="729942253" sldId="2147483648"/>
            <ac:graphicFrameMk id="3" creationId="{0A7CFC9E-B43F-0659-02DE-D0BAFF356E87}"/>
          </ac:graphicFrameMkLst>
        </pc:graphicFrameChg>
      </pc:sldMasterChg>
      <pc:sldMasterChg chg="addSp delSp modSp mod">
        <pc:chgData name="Malla Ranne" userId="960b0e87-783b-448d-a173-0b61af3b4d87" providerId="ADAL" clId="{958C9EC7-BAE2-4B56-A8F9-CEFBFE410D65}" dt="2024-08-19T11:22:51.747" v="111"/>
        <pc:sldMasterMkLst>
          <pc:docMk/>
          <pc:sldMasterMk cId="486578958" sldId="2147483711"/>
        </pc:sldMasterMkLst>
        <pc:spChg chg="add del mod modVis">
          <ac:chgData name="Malla Ranne" userId="960b0e87-783b-448d-a173-0b61af3b4d87" providerId="ADAL" clId="{958C9EC7-BAE2-4B56-A8F9-CEFBFE410D65}" dt="2024-08-19T11:22:51.699" v="96"/>
          <ac:spMkLst>
            <pc:docMk/>
            <pc:sldMasterMk cId="486578958" sldId="2147483711"/>
            <ac:spMk id="2" creationId="{DC89976A-B17E-31BA-37D5-988CD83C91B6}"/>
          </ac:spMkLst>
        </pc:spChg>
        <pc:spChg chg="mod">
          <ac:chgData name="Malla Ranne" userId="960b0e87-783b-448d-a173-0b61af3b4d87" providerId="ADAL" clId="{958C9EC7-BAE2-4B56-A8F9-CEFBFE410D65}" dt="2024-08-19T11:22:51.514" v="32" actId="948"/>
          <ac:spMkLst>
            <pc:docMk/>
            <pc:sldMasterMk cId="486578958" sldId="2147483711"/>
            <ac:spMk id="27" creationId="{00000000-0000-0000-0000-000000000000}"/>
          </ac:spMkLst>
        </pc:spChg>
        <pc:graphicFrameChg chg="add mod ord modVis replST">
          <ac:chgData name="Malla Ranne" userId="960b0e87-783b-448d-a173-0b61af3b4d87" providerId="ADAL" clId="{958C9EC7-BAE2-4B56-A8F9-CEFBFE410D65}" dt="2024-08-19T11:22:51.747" v="111"/>
          <ac:graphicFrameMkLst>
            <pc:docMk/>
            <pc:sldMasterMk cId="486578958" sldId="2147483711"/>
            <ac:graphicFrameMk id="3" creationId="{8503B2F7-F667-5B3A-3BAE-400F1CB8586E}"/>
          </ac:graphicFrameMkLst>
        </pc:graphicFrameChg>
      </pc:sldMasterChg>
    </pc:docChg>
  </pc:docChgLst>
  <pc:docChgLst>
    <pc:chgData name="Sami Ruotsalainen" userId="ca7d0a82-bb72-4b23-ae21-867fa9b9b13f" providerId="ADAL" clId="{17F25C9A-6EE7-4128-AA64-DD091B4BE9FB}"/>
    <pc:docChg chg="undo redo custSel addSld delSld modSld sldOrd">
      <pc:chgData name="Sami Ruotsalainen" userId="ca7d0a82-bb72-4b23-ae21-867fa9b9b13f" providerId="ADAL" clId="{17F25C9A-6EE7-4128-AA64-DD091B4BE9FB}" dt="2024-10-04T18:59:03.972" v="6668" actId="403"/>
      <pc:docMkLst>
        <pc:docMk/>
      </pc:docMkLst>
      <pc:sldChg chg="del">
        <pc:chgData name="Sami Ruotsalainen" userId="ca7d0a82-bb72-4b23-ae21-867fa9b9b13f" providerId="ADAL" clId="{17F25C9A-6EE7-4128-AA64-DD091B4BE9FB}" dt="2024-10-03T09:34:18.065" v="0" actId="47"/>
        <pc:sldMkLst>
          <pc:docMk/>
          <pc:sldMk cId="2628248585" sldId="256"/>
        </pc:sldMkLst>
      </pc:sldChg>
      <pc:sldChg chg="del mod modShow">
        <pc:chgData name="Sami Ruotsalainen" userId="ca7d0a82-bb72-4b23-ae21-867fa9b9b13f" providerId="ADAL" clId="{17F25C9A-6EE7-4128-AA64-DD091B4BE9FB}" dt="2024-10-03T15:17:15.601" v="5605" actId="47"/>
        <pc:sldMkLst>
          <pc:docMk/>
          <pc:sldMk cId="4013679906" sldId="258"/>
        </pc:sldMkLst>
      </pc:sldChg>
      <pc:sldChg chg="del mod modShow">
        <pc:chgData name="Sami Ruotsalainen" userId="ca7d0a82-bb72-4b23-ae21-867fa9b9b13f" providerId="ADAL" clId="{17F25C9A-6EE7-4128-AA64-DD091B4BE9FB}" dt="2024-10-03T15:17:15.601" v="5605" actId="47"/>
        <pc:sldMkLst>
          <pc:docMk/>
          <pc:sldMk cId="2233989291" sldId="260"/>
        </pc:sldMkLst>
      </pc:sldChg>
      <pc:sldChg chg="del">
        <pc:chgData name="Sami Ruotsalainen" userId="ca7d0a82-bb72-4b23-ae21-867fa9b9b13f" providerId="ADAL" clId="{17F25C9A-6EE7-4128-AA64-DD091B4BE9FB}" dt="2024-10-03T15:17:15.601" v="5605" actId="47"/>
        <pc:sldMkLst>
          <pc:docMk/>
          <pc:sldMk cId="133743526" sldId="261"/>
        </pc:sldMkLst>
      </pc:sldChg>
      <pc:sldChg chg="del">
        <pc:chgData name="Sami Ruotsalainen" userId="ca7d0a82-bb72-4b23-ae21-867fa9b9b13f" providerId="ADAL" clId="{17F25C9A-6EE7-4128-AA64-DD091B4BE9FB}" dt="2024-10-03T15:17:15.601" v="5605" actId="47"/>
        <pc:sldMkLst>
          <pc:docMk/>
          <pc:sldMk cId="2450032615" sldId="262"/>
        </pc:sldMkLst>
      </pc:sldChg>
      <pc:sldChg chg="del">
        <pc:chgData name="Sami Ruotsalainen" userId="ca7d0a82-bb72-4b23-ae21-867fa9b9b13f" providerId="ADAL" clId="{17F25C9A-6EE7-4128-AA64-DD091B4BE9FB}" dt="2024-10-03T15:17:15.601" v="5605" actId="47"/>
        <pc:sldMkLst>
          <pc:docMk/>
          <pc:sldMk cId="1837177247" sldId="263"/>
        </pc:sldMkLst>
      </pc:sldChg>
      <pc:sldChg chg="del">
        <pc:chgData name="Sami Ruotsalainen" userId="ca7d0a82-bb72-4b23-ae21-867fa9b9b13f" providerId="ADAL" clId="{17F25C9A-6EE7-4128-AA64-DD091B4BE9FB}" dt="2024-10-03T15:17:15.601" v="5605" actId="47"/>
        <pc:sldMkLst>
          <pc:docMk/>
          <pc:sldMk cId="2847776544" sldId="264"/>
        </pc:sldMkLst>
      </pc:sldChg>
      <pc:sldChg chg="del">
        <pc:chgData name="Sami Ruotsalainen" userId="ca7d0a82-bb72-4b23-ae21-867fa9b9b13f" providerId="ADAL" clId="{17F25C9A-6EE7-4128-AA64-DD091B4BE9FB}" dt="2024-10-03T15:17:15.601" v="5605" actId="47"/>
        <pc:sldMkLst>
          <pc:docMk/>
          <pc:sldMk cId="1394877778" sldId="265"/>
        </pc:sldMkLst>
      </pc:sldChg>
      <pc:sldChg chg="del">
        <pc:chgData name="Sami Ruotsalainen" userId="ca7d0a82-bb72-4b23-ae21-867fa9b9b13f" providerId="ADAL" clId="{17F25C9A-6EE7-4128-AA64-DD091B4BE9FB}" dt="2024-10-03T15:17:15.601" v="5605" actId="47"/>
        <pc:sldMkLst>
          <pc:docMk/>
          <pc:sldMk cId="3681436765" sldId="267"/>
        </pc:sldMkLst>
      </pc:sldChg>
      <pc:sldChg chg="del">
        <pc:chgData name="Sami Ruotsalainen" userId="ca7d0a82-bb72-4b23-ae21-867fa9b9b13f" providerId="ADAL" clId="{17F25C9A-6EE7-4128-AA64-DD091B4BE9FB}" dt="2024-10-03T15:17:15.601" v="5605" actId="47"/>
        <pc:sldMkLst>
          <pc:docMk/>
          <pc:sldMk cId="956414826" sldId="268"/>
        </pc:sldMkLst>
      </pc:sldChg>
      <pc:sldChg chg="del">
        <pc:chgData name="Sami Ruotsalainen" userId="ca7d0a82-bb72-4b23-ae21-867fa9b9b13f" providerId="ADAL" clId="{17F25C9A-6EE7-4128-AA64-DD091B4BE9FB}" dt="2024-10-03T15:17:15.601" v="5605" actId="47"/>
        <pc:sldMkLst>
          <pc:docMk/>
          <pc:sldMk cId="2160911306" sldId="269"/>
        </pc:sldMkLst>
      </pc:sldChg>
      <pc:sldChg chg="del">
        <pc:chgData name="Sami Ruotsalainen" userId="ca7d0a82-bb72-4b23-ae21-867fa9b9b13f" providerId="ADAL" clId="{17F25C9A-6EE7-4128-AA64-DD091B4BE9FB}" dt="2024-10-03T15:17:15.601" v="5605" actId="47"/>
        <pc:sldMkLst>
          <pc:docMk/>
          <pc:sldMk cId="959288810" sldId="270"/>
        </pc:sldMkLst>
      </pc:sldChg>
      <pc:sldChg chg="del">
        <pc:chgData name="Sami Ruotsalainen" userId="ca7d0a82-bb72-4b23-ae21-867fa9b9b13f" providerId="ADAL" clId="{17F25C9A-6EE7-4128-AA64-DD091B4BE9FB}" dt="2024-10-03T15:17:15.601" v="5605" actId="47"/>
        <pc:sldMkLst>
          <pc:docMk/>
          <pc:sldMk cId="3225025497" sldId="271"/>
        </pc:sldMkLst>
      </pc:sldChg>
      <pc:sldChg chg="del">
        <pc:chgData name="Sami Ruotsalainen" userId="ca7d0a82-bb72-4b23-ae21-867fa9b9b13f" providerId="ADAL" clId="{17F25C9A-6EE7-4128-AA64-DD091B4BE9FB}" dt="2024-10-03T15:17:15.601" v="5605" actId="47"/>
        <pc:sldMkLst>
          <pc:docMk/>
          <pc:sldMk cId="2009147110" sldId="272"/>
        </pc:sldMkLst>
      </pc:sldChg>
      <pc:sldChg chg="del">
        <pc:chgData name="Sami Ruotsalainen" userId="ca7d0a82-bb72-4b23-ae21-867fa9b9b13f" providerId="ADAL" clId="{17F25C9A-6EE7-4128-AA64-DD091B4BE9FB}" dt="2024-10-03T15:17:15.601" v="5605" actId="47"/>
        <pc:sldMkLst>
          <pc:docMk/>
          <pc:sldMk cId="3026314242" sldId="273"/>
        </pc:sldMkLst>
      </pc:sldChg>
      <pc:sldChg chg="del">
        <pc:chgData name="Sami Ruotsalainen" userId="ca7d0a82-bb72-4b23-ae21-867fa9b9b13f" providerId="ADAL" clId="{17F25C9A-6EE7-4128-AA64-DD091B4BE9FB}" dt="2024-10-03T15:17:15.601" v="5605" actId="47"/>
        <pc:sldMkLst>
          <pc:docMk/>
          <pc:sldMk cId="3050542010" sldId="274"/>
        </pc:sldMkLst>
      </pc:sldChg>
      <pc:sldChg chg="del">
        <pc:chgData name="Sami Ruotsalainen" userId="ca7d0a82-bb72-4b23-ae21-867fa9b9b13f" providerId="ADAL" clId="{17F25C9A-6EE7-4128-AA64-DD091B4BE9FB}" dt="2024-10-03T15:17:15.601" v="5605" actId="47"/>
        <pc:sldMkLst>
          <pc:docMk/>
          <pc:sldMk cId="1724167759" sldId="275"/>
        </pc:sldMkLst>
      </pc:sldChg>
      <pc:sldChg chg="addSp delSp modSp mod ord">
        <pc:chgData name="Sami Ruotsalainen" userId="ca7d0a82-bb72-4b23-ae21-867fa9b9b13f" providerId="ADAL" clId="{17F25C9A-6EE7-4128-AA64-DD091B4BE9FB}" dt="2024-10-03T11:21:47.058" v="339" actId="207"/>
        <pc:sldMkLst>
          <pc:docMk/>
          <pc:sldMk cId="4051174790" sldId="276"/>
        </pc:sldMkLst>
        <pc:spChg chg="mod">
          <ac:chgData name="Sami Ruotsalainen" userId="ca7d0a82-bb72-4b23-ae21-867fa9b9b13f" providerId="ADAL" clId="{17F25C9A-6EE7-4128-AA64-DD091B4BE9FB}" dt="2024-10-03T11:15:42.856" v="257" actId="6549"/>
          <ac:spMkLst>
            <pc:docMk/>
            <pc:sldMk cId="4051174790" sldId="276"/>
            <ac:spMk id="6" creationId="{106BEC6E-B1D1-A5F2-450D-C10F7052BD6F}"/>
          </ac:spMkLst>
        </pc:spChg>
        <pc:spChg chg="mod">
          <ac:chgData name="Sami Ruotsalainen" userId="ca7d0a82-bb72-4b23-ae21-867fa9b9b13f" providerId="ADAL" clId="{17F25C9A-6EE7-4128-AA64-DD091B4BE9FB}" dt="2024-10-03T11:16:22.695" v="289" actId="20577"/>
          <ac:spMkLst>
            <pc:docMk/>
            <pc:sldMk cId="4051174790" sldId="276"/>
            <ac:spMk id="9" creationId="{ABD824EA-818A-2135-5900-9AC6EC2417EA}"/>
          </ac:spMkLst>
        </pc:spChg>
        <pc:spChg chg="mod">
          <ac:chgData name="Sami Ruotsalainen" userId="ca7d0a82-bb72-4b23-ae21-867fa9b9b13f" providerId="ADAL" clId="{17F25C9A-6EE7-4128-AA64-DD091B4BE9FB}" dt="2024-10-03T11:15:08.287" v="217" actId="14100"/>
          <ac:spMkLst>
            <pc:docMk/>
            <pc:sldMk cId="4051174790" sldId="276"/>
            <ac:spMk id="11" creationId="{36C93923-D450-BB10-F067-9F030ADAA3FF}"/>
          </ac:spMkLst>
        </pc:spChg>
        <pc:spChg chg="mod">
          <ac:chgData name="Sami Ruotsalainen" userId="ca7d0a82-bb72-4b23-ae21-867fa9b9b13f" providerId="ADAL" clId="{17F25C9A-6EE7-4128-AA64-DD091B4BE9FB}" dt="2024-10-03T11:11:30.580" v="135" actId="6549"/>
          <ac:spMkLst>
            <pc:docMk/>
            <pc:sldMk cId="4051174790" sldId="276"/>
            <ac:spMk id="16" creationId="{D84090F2-88BC-8B9A-A403-1B57A1BEE8D4}"/>
          </ac:spMkLst>
        </pc:spChg>
        <pc:graphicFrameChg chg="add mod">
          <ac:chgData name="Sami Ruotsalainen" userId="ca7d0a82-bb72-4b23-ae21-867fa9b9b13f" providerId="ADAL" clId="{17F25C9A-6EE7-4128-AA64-DD091B4BE9FB}" dt="2024-10-03T11:02:58.978" v="32"/>
          <ac:graphicFrameMkLst>
            <pc:docMk/>
            <pc:sldMk cId="4051174790" sldId="276"/>
            <ac:graphicFrameMk id="7" creationId="{0FB10643-A469-4C16-B7D3-391FA2D1E28B}"/>
          </ac:graphicFrameMkLst>
        </pc:graphicFrameChg>
        <pc:graphicFrameChg chg="add mod">
          <ac:chgData name="Sami Ruotsalainen" userId="ca7d0a82-bb72-4b23-ae21-867fa9b9b13f" providerId="ADAL" clId="{17F25C9A-6EE7-4128-AA64-DD091B4BE9FB}" dt="2024-10-03T11:15:02.557" v="215" actId="14100"/>
          <ac:graphicFrameMkLst>
            <pc:docMk/>
            <pc:sldMk cId="4051174790" sldId="276"/>
            <ac:graphicFrameMk id="8" creationId="{0FB10643-A469-4C16-B7D3-391FA2D1E28B}"/>
          </ac:graphicFrameMkLst>
        </pc:graphicFrameChg>
        <pc:graphicFrameChg chg="del">
          <ac:chgData name="Sami Ruotsalainen" userId="ca7d0a82-bb72-4b23-ae21-867fa9b9b13f" providerId="ADAL" clId="{17F25C9A-6EE7-4128-AA64-DD091B4BE9FB}" dt="2024-10-03T11:02:46.815" v="26" actId="478"/>
          <ac:graphicFrameMkLst>
            <pc:docMk/>
            <pc:sldMk cId="4051174790" sldId="276"/>
            <ac:graphicFrameMk id="10" creationId="{8CD77983-152D-C4C8-DE2C-1BA1E0FB4897}"/>
          </ac:graphicFrameMkLst>
        </pc:graphicFrameChg>
        <pc:graphicFrameChg chg="add mod">
          <ac:chgData name="Sami Ruotsalainen" userId="ca7d0a82-bb72-4b23-ae21-867fa9b9b13f" providerId="ADAL" clId="{17F25C9A-6EE7-4128-AA64-DD091B4BE9FB}" dt="2024-10-03T11:21:47.058" v="339" actId="207"/>
          <ac:graphicFrameMkLst>
            <pc:docMk/>
            <pc:sldMk cId="4051174790" sldId="276"/>
            <ac:graphicFrameMk id="12" creationId="{8CD77983-152D-C4C8-DE2C-1BA1E0FB4897}"/>
          </ac:graphicFrameMkLst>
        </pc:graphicFrameChg>
      </pc:sldChg>
      <pc:sldChg chg="del">
        <pc:chgData name="Sami Ruotsalainen" userId="ca7d0a82-bb72-4b23-ae21-867fa9b9b13f" providerId="ADAL" clId="{17F25C9A-6EE7-4128-AA64-DD091B4BE9FB}" dt="2024-10-03T15:17:15.601" v="5605" actId="47"/>
        <pc:sldMkLst>
          <pc:docMk/>
          <pc:sldMk cId="249603196" sldId="277"/>
        </pc:sldMkLst>
      </pc:sldChg>
      <pc:sldChg chg="del">
        <pc:chgData name="Sami Ruotsalainen" userId="ca7d0a82-bb72-4b23-ae21-867fa9b9b13f" providerId="ADAL" clId="{17F25C9A-6EE7-4128-AA64-DD091B4BE9FB}" dt="2024-10-03T15:17:15.601" v="5605" actId="47"/>
        <pc:sldMkLst>
          <pc:docMk/>
          <pc:sldMk cId="4009307223" sldId="281"/>
        </pc:sldMkLst>
      </pc:sldChg>
      <pc:sldChg chg="del">
        <pc:chgData name="Sami Ruotsalainen" userId="ca7d0a82-bb72-4b23-ae21-867fa9b9b13f" providerId="ADAL" clId="{17F25C9A-6EE7-4128-AA64-DD091B4BE9FB}" dt="2024-10-03T15:17:15.601" v="5605" actId="47"/>
        <pc:sldMkLst>
          <pc:docMk/>
          <pc:sldMk cId="1055826744" sldId="282"/>
        </pc:sldMkLst>
      </pc:sldChg>
      <pc:sldChg chg="del">
        <pc:chgData name="Sami Ruotsalainen" userId="ca7d0a82-bb72-4b23-ae21-867fa9b9b13f" providerId="ADAL" clId="{17F25C9A-6EE7-4128-AA64-DD091B4BE9FB}" dt="2024-10-03T15:17:15.601" v="5605" actId="47"/>
        <pc:sldMkLst>
          <pc:docMk/>
          <pc:sldMk cId="3317453972" sldId="283"/>
        </pc:sldMkLst>
      </pc:sldChg>
      <pc:sldChg chg="del">
        <pc:chgData name="Sami Ruotsalainen" userId="ca7d0a82-bb72-4b23-ae21-867fa9b9b13f" providerId="ADAL" clId="{17F25C9A-6EE7-4128-AA64-DD091B4BE9FB}" dt="2024-10-03T15:17:15.601" v="5605" actId="47"/>
        <pc:sldMkLst>
          <pc:docMk/>
          <pc:sldMk cId="1421190833" sldId="284"/>
        </pc:sldMkLst>
      </pc:sldChg>
      <pc:sldChg chg="del">
        <pc:chgData name="Sami Ruotsalainen" userId="ca7d0a82-bb72-4b23-ae21-867fa9b9b13f" providerId="ADAL" clId="{17F25C9A-6EE7-4128-AA64-DD091B4BE9FB}" dt="2024-10-03T15:17:15.601" v="5605" actId="47"/>
        <pc:sldMkLst>
          <pc:docMk/>
          <pc:sldMk cId="4271325521" sldId="285"/>
        </pc:sldMkLst>
      </pc:sldChg>
      <pc:sldChg chg="del">
        <pc:chgData name="Sami Ruotsalainen" userId="ca7d0a82-bb72-4b23-ae21-867fa9b9b13f" providerId="ADAL" clId="{17F25C9A-6EE7-4128-AA64-DD091B4BE9FB}" dt="2024-10-03T15:17:15.601" v="5605" actId="47"/>
        <pc:sldMkLst>
          <pc:docMk/>
          <pc:sldMk cId="333011230" sldId="286"/>
        </pc:sldMkLst>
      </pc:sldChg>
      <pc:sldChg chg="del">
        <pc:chgData name="Sami Ruotsalainen" userId="ca7d0a82-bb72-4b23-ae21-867fa9b9b13f" providerId="ADAL" clId="{17F25C9A-6EE7-4128-AA64-DD091B4BE9FB}" dt="2024-10-03T15:17:15.601" v="5605" actId="47"/>
        <pc:sldMkLst>
          <pc:docMk/>
          <pc:sldMk cId="106026904" sldId="287"/>
        </pc:sldMkLst>
      </pc:sldChg>
      <pc:sldChg chg="del">
        <pc:chgData name="Sami Ruotsalainen" userId="ca7d0a82-bb72-4b23-ae21-867fa9b9b13f" providerId="ADAL" clId="{17F25C9A-6EE7-4128-AA64-DD091B4BE9FB}" dt="2024-10-03T15:17:15.601" v="5605" actId="47"/>
        <pc:sldMkLst>
          <pc:docMk/>
          <pc:sldMk cId="1505532723" sldId="288"/>
        </pc:sldMkLst>
      </pc:sldChg>
      <pc:sldChg chg="del">
        <pc:chgData name="Sami Ruotsalainen" userId="ca7d0a82-bb72-4b23-ae21-867fa9b9b13f" providerId="ADAL" clId="{17F25C9A-6EE7-4128-AA64-DD091B4BE9FB}" dt="2024-10-03T15:17:15.601" v="5605" actId="47"/>
        <pc:sldMkLst>
          <pc:docMk/>
          <pc:sldMk cId="3072204206" sldId="289"/>
        </pc:sldMkLst>
      </pc:sldChg>
      <pc:sldChg chg="del">
        <pc:chgData name="Sami Ruotsalainen" userId="ca7d0a82-bb72-4b23-ae21-867fa9b9b13f" providerId="ADAL" clId="{17F25C9A-6EE7-4128-AA64-DD091B4BE9FB}" dt="2024-10-03T15:17:15.601" v="5605" actId="47"/>
        <pc:sldMkLst>
          <pc:docMk/>
          <pc:sldMk cId="67705251" sldId="290"/>
        </pc:sldMkLst>
      </pc:sldChg>
      <pc:sldChg chg="del">
        <pc:chgData name="Sami Ruotsalainen" userId="ca7d0a82-bb72-4b23-ae21-867fa9b9b13f" providerId="ADAL" clId="{17F25C9A-6EE7-4128-AA64-DD091B4BE9FB}" dt="2024-10-03T15:17:15.601" v="5605" actId="47"/>
        <pc:sldMkLst>
          <pc:docMk/>
          <pc:sldMk cId="912506962" sldId="291"/>
        </pc:sldMkLst>
      </pc:sldChg>
      <pc:sldChg chg="del">
        <pc:chgData name="Sami Ruotsalainen" userId="ca7d0a82-bb72-4b23-ae21-867fa9b9b13f" providerId="ADAL" clId="{17F25C9A-6EE7-4128-AA64-DD091B4BE9FB}" dt="2024-10-03T15:17:15.601" v="5605" actId="47"/>
        <pc:sldMkLst>
          <pc:docMk/>
          <pc:sldMk cId="1069711582" sldId="292"/>
        </pc:sldMkLst>
      </pc:sldChg>
      <pc:sldChg chg="del">
        <pc:chgData name="Sami Ruotsalainen" userId="ca7d0a82-bb72-4b23-ae21-867fa9b9b13f" providerId="ADAL" clId="{17F25C9A-6EE7-4128-AA64-DD091B4BE9FB}" dt="2024-10-03T15:17:15.601" v="5605" actId="47"/>
        <pc:sldMkLst>
          <pc:docMk/>
          <pc:sldMk cId="1939660482" sldId="293"/>
        </pc:sldMkLst>
      </pc:sldChg>
      <pc:sldChg chg="del">
        <pc:chgData name="Sami Ruotsalainen" userId="ca7d0a82-bb72-4b23-ae21-867fa9b9b13f" providerId="ADAL" clId="{17F25C9A-6EE7-4128-AA64-DD091B4BE9FB}" dt="2024-10-03T15:17:15.601" v="5605" actId="47"/>
        <pc:sldMkLst>
          <pc:docMk/>
          <pc:sldMk cId="748134519" sldId="294"/>
        </pc:sldMkLst>
      </pc:sldChg>
      <pc:sldChg chg="del">
        <pc:chgData name="Sami Ruotsalainen" userId="ca7d0a82-bb72-4b23-ae21-867fa9b9b13f" providerId="ADAL" clId="{17F25C9A-6EE7-4128-AA64-DD091B4BE9FB}" dt="2024-10-03T15:17:15.601" v="5605" actId="47"/>
        <pc:sldMkLst>
          <pc:docMk/>
          <pc:sldMk cId="3864437757" sldId="295"/>
        </pc:sldMkLst>
      </pc:sldChg>
      <pc:sldChg chg="del">
        <pc:chgData name="Sami Ruotsalainen" userId="ca7d0a82-bb72-4b23-ae21-867fa9b9b13f" providerId="ADAL" clId="{17F25C9A-6EE7-4128-AA64-DD091B4BE9FB}" dt="2024-10-03T15:17:15.601" v="5605" actId="47"/>
        <pc:sldMkLst>
          <pc:docMk/>
          <pc:sldMk cId="1130604480" sldId="296"/>
        </pc:sldMkLst>
      </pc:sldChg>
      <pc:sldChg chg="del">
        <pc:chgData name="Sami Ruotsalainen" userId="ca7d0a82-bb72-4b23-ae21-867fa9b9b13f" providerId="ADAL" clId="{17F25C9A-6EE7-4128-AA64-DD091B4BE9FB}" dt="2024-10-03T15:17:15.601" v="5605" actId="47"/>
        <pc:sldMkLst>
          <pc:docMk/>
          <pc:sldMk cId="3329688538" sldId="297"/>
        </pc:sldMkLst>
      </pc:sldChg>
      <pc:sldChg chg="del">
        <pc:chgData name="Sami Ruotsalainen" userId="ca7d0a82-bb72-4b23-ae21-867fa9b9b13f" providerId="ADAL" clId="{17F25C9A-6EE7-4128-AA64-DD091B4BE9FB}" dt="2024-10-03T15:17:15.601" v="5605" actId="47"/>
        <pc:sldMkLst>
          <pc:docMk/>
          <pc:sldMk cId="780793312" sldId="298"/>
        </pc:sldMkLst>
      </pc:sldChg>
      <pc:sldChg chg="del">
        <pc:chgData name="Sami Ruotsalainen" userId="ca7d0a82-bb72-4b23-ae21-867fa9b9b13f" providerId="ADAL" clId="{17F25C9A-6EE7-4128-AA64-DD091B4BE9FB}" dt="2024-10-03T15:17:15.601" v="5605" actId="47"/>
        <pc:sldMkLst>
          <pc:docMk/>
          <pc:sldMk cId="3365996573" sldId="299"/>
        </pc:sldMkLst>
      </pc:sldChg>
      <pc:sldChg chg="del">
        <pc:chgData name="Sami Ruotsalainen" userId="ca7d0a82-bb72-4b23-ae21-867fa9b9b13f" providerId="ADAL" clId="{17F25C9A-6EE7-4128-AA64-DD091B4BE9FB}" dt="2024-10-03T15:17:15.601" v="5605" actId="47"/>
        <pc:sldMkLst>
          <pc:docMk/>
          <pc:sldMk cId="273814959" sldId="300"/>
        </pc:sldMkLst>
      </pc:sldChg>
      <pc:sldChg chg="del">
        <pc:chgData name="Sami Ruotsalainen" userId="ca7d0a82-bb72-4b23-ae21-867fa9b9b13f" providerId="ADAL" clId="{17F25C9A-6EE7-4128-AA64-DD091B4BE9FB}" dt="2024-10-03T15:17:15.601" v="5605" actId="47"/>
        <pc:sldMkLst>
          <pc:docMk/>
          <pc:sldMk cId="310301206" sldId="302"/>
        </pc:sldMkLst>
      </pc:sldChg>
      <pc:sldChg chg="del">
        <pc:chgData name="Sami Ruotsalainen" userId="ca7d0a82-bb72-4b23-ae21-867fa9b9b13f" providerId="ADAL" clId="{17F25C9A-6EE7-4128-AA64-DD091B4BE9FB}" dt="2024-10-03T15:17:15.601" v="5605" actId="47"/>
        <pc:sldMkLst>
          <pc:docMk/>
          <pc:sldMk cId="3305647440" sldId="303"/>
        </pc:sldMkLst>
      </pc:sldChg>
      <pc:sldChg chg="del">
        <pc:chgData name="Sami Ruotsalainen" userId="ca7d0a82-bb72-4b23-ae21-867fa9b9b13f" providerId="ADAL" clId="{17F25C9A-6EE7-4128-AA64-DD091B4BE9FB}" dt="2024-10-03T15:17:15.601" v="5605" actId="47"/>
        <pc:sldMkLst>
          <pc:docMk/>
          <pc:sldMk cId="3905520229" sldId="304"/>
        </pc:sldMkLst>
      </pc:sldChg>
      <pc:sldChg chg="del">
        <pc:chgData name="Sami Ruotsalainen" userId="ca7d0a82-bb72-4b23-ae21-867fa9b9b13f" providerId="ADAL" clId="{17F25C9A-6EE7-4128-AA64-DD091B4BE9FB}" dt="2024-10-03T15:17:15.601" v="5605" actId="47"/>
        <pc:sldMkLst>
          <pc:docMk/>
          <pc:sldMk cId="3559488061" sldId="305"/>
        </pc:sldMkLst>
      </pc:sldChg>
      <pc:sldChg chg="del">
        <pc:chgData name="Sami Ruotsalainen" userId="ca7d0a82-bb72-4b23-ae21-867fa9b9b13f" providerId="ADAL" clId="{17F25C9A-6EE7-4128-AA64-DD091B4BE9FB}" dt="2024-10-03T15:17:15.601" v="5605" actId="47"/>
        <pc:sldMkLst>
          <pc:docMk/>
          <pc:sldMk cId="4178612889" sldId="306"/>
        </pc:sldMkLst>
      </pc:sldChg>
      <pc:sldChg chg="del">
        <pc:chgData name="Sami Ruotsalainen" userId="ca7d0a82-bb72-4b23-ae21-867fa9b9b13f" providerId="ADAL" clId="{17F25C9A-6EE7-4128-AA64-DD091B4BE9FB}" dt="2024-10-03T15:17:15.601" v="5605" actId="47"/>
        <pc:sldMkLst>
          <pc:docMk/>
          <pc:sldMk cId="2676363021" sldId="307"/>
        </pc:sldMkLst>
      </pc:sldChg>
      <pc:sldChg chg="del">
        <pc:chgData name="Sami Ruotsalainen" userId="ca7d0a82-bb72-4b23-ae21-867fa9b9b13f" providerId="ADAL" clId="{17F25C9A-6EE7-4128-AA64-DD091B4BE9FB}" dt="2024-10-03T15:17:15.601" v="5605" actId="47"/>
        <pc:sldMkLst>
          <pc:docMk/>
          <pc:sldMk cId="172712021" sldId="308"/>
        </pc:sldMkLst>
      </pc:sldChg>
      <pc:sldChg chg="del">
        <pc:chgData name="Sami Ruotsalainen" userId="ca7d0a82-bb72-4b23-ae21-867fa9b9b13f" providerId="ADAL" clId="{17F25C9A-6EE7-4128-AA64-DD091B4BE9FB}" dt="2024-10-03T15:17:15.601" v="5605" actId="47"/>
        <pc:sldMkLst>
          <pc:docMk/>
          <pc:sldMk cId="1235343927" sldId="309"/>
        </pc:sldMkLst>
      </pc:sldChg>
      <pc:sldChg chg="del">
        <pc:chgData name="Sami Ruotsalainen" userId="ca7d0a82-bb72-4b23-ae21-867fa9b9b13f" providerId="ADAL" clId="{17F25C9A-6EE7-4128-AA64-DD091B4BE9FB}" dt="2024-10-03T15:17:15.601" v="5605" actId="47"/>
        <pc:sldMkLst>
          <pc:docMk/>
          <pc:sldMk cId="4180690209" sldId="310"/>
        </pc:sldMkLst>
      </pc:sldChg>
      <pc:sldChg chg="del">
        <pc:chgData name="Sami Ruotsalainen" userId="ca7d0a82-bb72-4b23-ae21-867fa9b9b13f" providerId="ADAL" clId="{17F25C9A-6EE7-4128-AA64-DD091B4BE9FB}" dt="2024-10-03T15:17:15.601" v="5605" actId="47"/>
        <pc:sldMkLst>
          <pc:docMk/>
          <pc:sldMk cId="3325510788" sldId="311"/>
        </pc:sldMkLst>
      </pc:sldChg>
      <pc:sldChg chg="del">
        <pc:chgData name="Sami Ruotsalainen" userId="ca7d0a82-bb72-4b23-ae21-867fa9b9b13f" providerId="ADAL" clId="{17F25C9A-6EE7-4128-AA64-DD091B4BE9FB}" dt="2024-10-03T15:17:15.601" v="5605" actId="47"/>
        <pc:sldMkLst>
          <pc:docMk/>
          <pc:sldMk cId="2145202547" sldId="2149"/>
        </pc:sldMkLst>
      </pc:sldChg>
      <pc:sldChg chg="del">
        <pc:chgData name="Sami Ruotsalainen" userId="ca7d0a82-bb72-4b23-ae21-867fa9b9b13f" providerId="ADAL" clId="{17F25C9A-6EE7-4128-AA64-DD091B4BE9FB}" dt="2024-10-03T15:17:15.601" v="5605" actId="47"/>
        <pc:sldMkLst>
          <pc:docMk/>
          <pc:sldMk cId="337906391" sldId="2268"/>
        </pc:sldMkLst>
      </pc:sldChg>
      <pc:sldChg chg="del">
        <pc:chgData name="Sami Ruotsalainen" userId="ca7d0a82-bb72-4b23-ae21-867fa9b9b13f" providerId="ADAL" clId="{17F25C9A-6EE7-4128-AA64-DD091B4BE9FB}" dt="2024-10-03T15:17:15.601" v="5605" actId="47"/>
        <pc:sldMkLst>
          <pc:docMk/>
          <pc:sldMk cId="4229664261" sldId="2272"/>
        </pc:sldMkLst>
      </pc:sldChg>
      <pc:sldChg chg="del">
        <pc:chgData name="Sami Ruotsalainen" userId="ca7d0a82-bb72-4b23-ae21-867fa9b9b13f" providerId="ADAL" clId="{17F25C9A-6EE7-4128-AA64-DD091B4BE9FB}" dt="2024-10-03T15:17:15.601" v="5605" actId="47"/>
        <pc:sldMkLst>
          <pc:docMk/>
          <pc:sldMk cId="731635990" sldId="2275"/>
        </pc:sldMkLst>
      </pc:sldChg>
      <pc:sldChg chg="del">
        <pc:chgData name="Sami Ruotsalainen" userId="ca7d0a82-bb72-4b23-ae21-867fa9b9b13f" providerId="ADAL" clId="{17F25C9A-6EE7-4128-AA64-DD091B4BE9FB}" dt="2024-10-03T15:17:15.601" v="5605" actId="47"/>
        <pc:sldMkLst>
          <pc:docMk/>
          <pc:sldMk cId="3492186645" sldId="2304"/>
        </pc:sldMkLst>
      </pc:sldChg>
      <pc:sldChg chg="del">
        <pc:chgData name="Sami Ruotsalainen" userId="ca7d0a82-bb72-4b23-ae21-867fa9b9b13f" providerId="ADAL" clId="{17F25C9A-6EE7-4128-AA64-DD091B4BE9FB}" dt="2024-10-03T15:17:15.601" v="5605" actId="47"/>
        <pc:sldMkLst>
          <pc:docMk/>
          <pc:sldMk cId="292232145" sldId="2305"/>
        </pc:sldMkLst>
      </pc:sldChg>
      <pc:sldChg chg="del">
        <pc:chgData name="Sami Ruotsalainen" userId="ca7d0a82-bb72-4b23-ae21-867fa9b9b13f" providerId="ADAL" clId="{17F25C9A-6EE7-4128-AA64-DD091B4BE9FB}" dt="2024-10-03T15:17:15.601" v="5605" actId="47"/>
        <pc:sldMkLst>
          <pc:docMk/>
          <pc:sldMk cId="4103803131" sldId="2307"/>
        </pc:sldMkLst>
      </pc:sldChg>
      <pc:sldChg chg="del">
        <pc:chgData name="Sami Ruotsalainen" userId="ca7d0a82-bb72-4b23-ae21-867fa9b9b13f" providerId="ADAL" clId="{17F25C9A-6EE7-4128-AA64-DD091B4BE9FB}" dt="2024-10-03T15:17:15.601" v="5605" actId="47"/>
        <pc:sldMkLst>
          <pc:docMk/>
          <pc:sldMk cId="2127748144" sldId="2309"/>
        </pc:sldMkLst>
      </pc:sldChg>
      <pc:sldChg chg="del">
        <pc:chgData name="Sami Ruotsalainen" userId="ca7d0a82-bb72-4b23-ae21-867fa9b9b13f" providerId="ADAL" clId="{17F25C9A-6EE7-4128-AA64-DD091B4BE9FB}" dt="2024-10-03T15:17:15.601" v="5605" actId="47"/>
        <pc:sldMkLst>
          <pc:docMk/>
          <pc:sldMk cId="3271234690" sldId="2311"/>
        </pc:sldMkLst>
      </pc:sldChg>
      <pc:sldChg chg="del">
        <pc:chgData name="Sami Ruotsalainen" userId="ca7d0a82-bb72-4b23-ae21-867fa9b9b13f" providerId="ADAL" clId="{17F25C9A-6EE7-4128-AA64-DD091B4BE9FB}" dt="2024-10-03T15:17:15.601" v="5605" actId="47"/>
        <pc:sldMkLst>
          <pc:docMk/>
          <pc:sldMk cId="873732989" sldId="2313"/>
        </pc:sldMkLst>
      </pc:sldChg>
      <pc:sldChg chg="del mod modShow">
        <pc:chgData name="Sami Ruotsalainen" userId="ca7d0a82-bb72-4b23-ae21-867fa9b9b13f" providerId="ADAL" clId="{17F25C9A-6EE7-4128-AA64-DD091B4BE9FB}" dt="2024-10-03T15:17:15.601" v="5605" actId="47"/>
        <pc:sldMkLst>
          <pc:docMk/>
          <pc:sldMk cId="1922264814" sldId="2314"/>
        </pc:sldMkLst>
      </pc:sldChg>
      <pc:sldChg chg="del">
        <pc:chgData name="Sami Ruotsalainen" userId="ca7d0a82-bb72-4b23-ae21-867fa9b9b13f" providerId="ADAL" clId="{17F25C9A-6EE7-4128-AA64-DD091B4BE9FB}" dt="2024-10-03T15:17:15.601" v="5605" actId="47"/>
        <pc:sldMkLst>
          <pc:docMk/>
          <pc:sldMk cId="3882031705" sldId="2315"/>
        </pc:sldMkLst>
      </pc:sldChg>
      <pc:sldChg chg="del">
        <pc:chgData name="Sami Ruotsalainen" userId="ca7d0a82-bb72-4b23-ae21-867fa9b9b13f" providerId="ADAL" clId="{17F25C9A-6EE7-4128-AA64-DD091B4BE9FB}" dt="2024-10-03T15:17:15.601" v="5605" actId="47"/>
        <pc:sldMkLst>
          <pc:docMk/>
          <pc:sldMk cId="3370479682" sldId="2316"/>
        </pc:sldMkLst>
      </pc:sldChg>
      <pc:sldChg chg="del">
        <pc:chgData name="Sami Ruotsalainen" userId="ca7d0a82-bb72-4b23-ae21-867fa9b9b13f" providerId="ADAL" clId="{17F25C9A-6EE7-4128-AA64-DD091B4BE9FB}" dt="2024-10-03T15:17:15.601" v="5605" actId="47"/>
        <pc:sldMkLst>
          <pc:docMk/>
          <pc:sldMk cId="1070583555" sldId="2317"/>
        </pc:sldMkLst>
      </pc:sldChg>
      <pc:sldChg chg="del">
        <pc:chgData name="Sami Ruotsalainen" userId="ca7d0a82-bb72-4b23-ae21-867fa9b9b13f" providerId="ADAL" clId="{17F25C9A-6EE7-4128-AA64-DD091B4BE9FB}" dt="2024-10-03T15:17:15.601" v="5605" actId="47"/>
        <pc:sldMkLst>
          <pc:docMk/>
          <pc:sldMk cId="3909644489" sldId="2318"/>
        </pc:sldMkLst>
      </pc:sldChg>
      <pc:sldChg chg="del">
        <pc:chgData name="Sami Ruotsalainen" userId="ca7d0a82-bb72-4b23-ae21-867fa9b9b13f" providerId="ADAL" clId="{17F25C9A-6EE7-4128-AA64-DD091B4BE9FB}" dt="2024-10-03T15:17:15.601" v="5605" actId="47"/>
        <pc:sldMkLst>
          <pc:docMk/>
          <pc:sldMk cId="3797582595" sldId="2320"/>
        </pc:sldMkLst>
      </pc:sldChg>
      <pc:sldChg chg="del">
        <pc:chgData name="Sami Ruotsalainen" userId="ca7d0a82-bb72-4b23-ae21-867fa9b9b13f" providerId="ADAL" clId="{17F25C9A-6EE7-4128-AA64-DD091B4BE9FB}" dt="2024-10-03T15:17:15.601" v="5605" actId="47"/>
        <pc:sldMkLst>
          <pc:docMk/>
          <pc:sldMk cId="2314721252" sldId="2321"/>
        </pc:sldMkLst>
      </pc:sldChg>
      <pc:sldChg chg="del">
        <pc:chgData name="Sami Ruotsalainen" userId="ca7d0a82-bb72-4b23-ae21-867fa9b9b13f" providerId="ADAL" clId="{17F25C9A-6EE7-4128-AA64-DD091B4BE9FB}" dt="2024-10-03T15:17:15.601" v="5605" actId="47"/>
        <pc:sldMkLst>
          <pc:docMk/>
          <pc:sldMk cId="3820825327" sldId="2323"/>
        </pc:sldMkLst>
      </pc:sldChg>
      <pc:sldChg chg="del">
        <pc:chgData name="Sami Ruotsalainen" userId="ca7d0a82-bb72-4b23-ae21-867fa9b9b13f" providerId="ADAL" clId="{17F25C9A-6EE7-4128-AA64-DD091B4BE9FB}" dt="2024-10-03T15:17:15.601" v="5605" actId="47"/>
        <pc:sldMkLst>
          <pc:docMk/>
          <pc:sldMk cId="2946749100" sldId="2324"/>
        </pc:sldMkLst>
      </pc:sldChg>
      <pc:sldChg chg="modSp mod ord">
        <pc:chgData name="Sami Ruotsalainen" userId="ca7d0a82-bb72-4b23-ae21-867fa9b9b13f" providerId="ADAL" clId="{17F25C9A-6EE7-4128-AA64-DD091B4BE9FB}" dt="2024-10-03T15:18:23.987" v="5607" actId="113"/>
        <pc:sldMkLst>
          <pc:docMk/>
          <pc:sldMk cId="3464739985" sldId="2325"/>
        </pc:sldMkLst>
        <pc:spChg chg="mod">
          <ac:chgData name="Sami Ruotsalainen" userId="ca7d0a82-bb72-4b23-ae21-867fa9b9b13f" providerId="ADAL" clId="{17F25C9A-6EE7-4128-AA64-DD091B4BE9FB}" dt="2024-10-03T15:18:23.987" v="5607" actId="113"/>
          <ac:spMkLst>
            <pc:docMk/>
            <pc:sldMk cId="3464739985" sldId="2325"/>
            <ac:spMk id="8" creationId="{74A10508-4726-11E0-EE8A-048130E33896}"/>
          </ac:spMkLst>
        </pc:spChg>
        <pc:grpChg chg="mod ord">
          <ac:chgData name="Sami Ruotsalainen" userId="ca7d0a82-bb72-4b23-ae21-867fa9b9b13f" providerId="ADAL" clId="{17F25C9A-6EE7-4128-AA64-DD091B4BE9FB}" dt="2024-10-03T09:41:11.534" v="4" actId="1076"/>
          <ac:grpSpMkLst>
            <pc:docMk/>
            <pc:sldMk cId="3464739985" sldId="2325"/>
            <ac:grpSpMk id="32" creationId="{AD1C5190-C8CE-978C-965C-DA1651F7C813}"/>
          </ac:grpSpMkLst>
        </pc:grpChg>
        <pc:grpChg chg="mod ord">
          <ac:chgData name="Sami Ruotsalainen" userId="ca7d0a82-bb72-4b23-ae21-867fa9b9b13f" providerId="ADAL" clId="{17F25C9A-6EE7-4128-AA64-DD091B4BE9FB}" dt="2024-10-03T09:40:49.162" v="3" actId="1076"/>
          <ac:grpSpMkLst>
            <pc:docMk/>
            <pc:sldMk cId="3464739985" sldId="2325"/>
            <ac:grpSpMk id="35" creationId="{C44AD99A-14A5-9382-EA96-BB521A56F915}"/>
          </ac:grpSpMkLst>
        </pc:grpChg>
        <pc:grpChg chg="mod ord">
          <ac:chgData name="Sami Ruotsalainen" userId="ca7d0a82-bb72-4b23-ae21-867fa9b9b13f" providerId="ADAL" clId="{17F25C9A-6EE7-4128-AA64-DD091B4BE9FB}" dt="2024-10-03T09:40:40.285" v="2" actId="1076"/>
          <ac:grpSpMkLst>
            <pc:docMk/>
            <pc:sldMk cId="3464739985" sldId="2325"/>
            <ac:grpSpMk id="38" creationId="{B6B13177-2805-3324-A019-EBE410EB2906}"/>
          </ac:grpSpMkLst>
        </pc:grpChg>
        <pc:grpChg chg="mod ord">
          <ac:chgData name="Sami Ruotsalainen" userId="ca7d0a82-bb72-4b23-ae21-867fa9b9b13f" providerId="ADAL" clId="{17F25C9A-6EE7-4128-AA64-DD091B4BE9FB}" dt="2024-10-03T09:40:40.285" v="2" actId="1076"/>
          <ac:grpSpMkLst>
            <pc:docMk/>
            <pc:sldMk cId="3464739985" sldId="2325"/>
            <ac:grpSpMk id="41" creationId="{B16F5F7A-81A3-3186-A21A-17F3FABA0A5C}"/>
          </ac:grpSpMkLst>
        </pc:grpChg>
        <pc:grpChg chg="mod ord">
          <ac:chgData name="Sami Ruotsalainen" userId="ca7d0a82-bb72-4b23-ae21-867fa9b9b13f" providerId="ADAL" clId="{17F25C9A-6EE7-4128-AA64-DD091B4BE9FB}" dt="2024-10-03T09:41:28.912" v="5" actId="1076"/>
          <ac:grpSpMkLst>
            <pc:docMk/>
            <pc:sldMk cId="3464739985" sldId="2325"/>
            <ac:grpSpMk id="44" creationId="{3C3AFA13-0FC6-C19D-16B9-59056E7EABFB}"/>
          </ac:grpSpMkLst>
        </pc:grpChg>
        <pc:grpChg chg="mod ord">
          <ac:chgData name="Sami Ruotsalainen" userId="ca7d0a82-bb72-4b23-ae21-867fa9b9b13f" providerId="ADAL" clId="{17F25C9A-6EE7-4128-AA64-DD091B4BE9FB}" dt="2024-10-03T09:41:11.534" v="4" actId="1076"/>
          <ac:grpSpMkLst>
            <pc:docMk/>
            <pc:sldMk cId="3464739985" sldId="2325"/>
            <ac:grpSpMk id="47" creationId="{5312E8DD-4781-55B0-B75E-562E1D1ED3A6}"/>
          </ac:grpSpMkLst>
        </pc:grpChg>
        <pc:graphicFrameChg chg="mod">
          <ac:chgData name="Sami Ruotsalainen" userId="ca7d0a82-bb72-4b23-ae21-867fa9b9b13f" providerId="ADAL" clId="{17F25C9A-6EE7-4128-AA64-DD091B4BE9FB}" dt="2024-10-03T09:43:23.179" v="8" actId="692"/>
          <ac:graphicFrameMkLst>
            <pc:docMk/>
            <pc:sldMk cId="3464739985" sldId="2325"/>
            <ac:graphicFrameMk id="19" creationId="{4F790125-C604-975E-E5A0-1369EDC799DE}"/>
          </ac:graphicFrameMkLst>
        </pc:graphicFrameChg>
        <pc:graphicFrameChg chg="mod">
          <ac:chgData name="Sami Ruotsalainen" userId="ca7d0a82-bb72-4b23-ae21-867fa9b9b13f" providerId="ADAL" clId="{17F25C9A-6EE7-4128-AA64-DD091B4BE9FB}" dt="2024-10-03T09:43:34.247" v="11" actId="692"/>
          <ac:graphicFrameMkLst>
            <pc:docMk/>
            <pc:sldMk cId="3464739985" sldId="2325"/>
            <ac:graphicFrameMk id="22" creationId="{B8551CF9-D46F-6E49-EA60-E395C4A62D1B}"/>
          </ac:graphicFrameMkLst>
        </pc:graphicFrameChg>
        <pc:graphicFrameChg chg="mod">
          <ac:chgData name="Sami Ruotsalainen" userId="ca7d0a82-bb72-4b23-ae21-867fa9b9b13f" providerId="ADAL" clId="{17F25C9A-6EE7-4128-AA64-DD091B4BE9FB}" dt="2024-10-03T09:44:04.480" v="20" actId="692"/>
          <ac:graphicFrameMkLst>
            <pc:docMk/>
            <pc:sldMk cId="3464739985" sldId="2325"/>
            <ac:graphicFrameMk id="26" creationId="{1A81296E-1BC5-91F3-3791-C9FFD3675F80}"/>
          </ac:graphicFrameMkLst>
        </pc:graphicFrameChg>
      </pc:sldChg>
      <pc:sldChg chg="del">
        <pc:chgData name="Sami Ruotsalainen" userId="ca7d0a82-bb72-4b23-ae21-867fa9b9b13f" providerId="ADAL" clId="{17F25C9A-6EE7-4128-AA64-DD091B4BE9FB}" dt="2024-10-03T15:17:15.601" v="5605" actId="47"/>
        <pc:sldMkLst>
          <pc:docMk/>
          <pc:sldMk cId="372733365" sldId="2326"/>
        </pc:sldMkLst>
      </pc:sldChg>
      <pc:sldChg chg="del">
        <pc:chgData name="Sami Ruotsalainen" userId="ca7d0a82-bb72-4b23-ae21-867fa9b9b13f" providerId="ADAL" clId="{17F25C9A-6EE7-4128-AA64-DD091B4BE9FB}" dt="2024-10-03T15:17:15.601" v="5605" actId="47"/>
        <pc:sldMkLst>
          <pc:docMk/>
          <pc:sldMk cId="3458573582" sldId="2328"/>
        </pc:sldMkLst>
      </pc:sldChg>
      <pc:sldChg chg="del">
        <pc:chgData name="Sami Ruotsalainen" userId="ca7d0a82-bb72-4b23-ae21-867fa9b9b13f" providerId="ADAL" clId="{17F25C9A-6EE7-4128-AA64-DD091B4BE9FB}" dt="2024-10-03T15:17:15.601" v="5605" actId="47"/>
        <pc:sldMkLst>
          <pc:docMk/>
          <pc:sldMk cId="3506517544" sldId="2329"/>
        </pc:sldMkLst>
      </pc:sldChg>
      <pc:sldChg chg="del">
        <pc:chgData name="Sami Ruotsalainen" userId="ca7d0a82-bb72-4b23-ae21-867fa9b9b13f" providerId="ADAL" clId="{17F25C9A-6EE7-4128-AA64-DD091B4BE9FB}" dt="2024-10-03T15:17:15.601" v="5605" actId="47"/>
        <pc:sldMkLst>
          <pc:docMk/>
          <pc:sldMk cId="1639299223" sldId="2330"/>
        </pc:sldMkLst>
      </pc:sldChg>
      <pc:sldChg chg="del">
        <pc:chgData name="Sami Ruotsalainen" userId="ca7d0a82-bb72-4b23-ae21-867fa9b9b13f" providerId="ADAL" clId="{17F25C9A-6EE7-4128-AA64-DD091B4BE9FB}" dt="2024-10-03T15:17:15.601" v="5605" actId="47"/>
        <pc:sldMkLst>
          <pc:docMk/>
          <pc:sldMk cId="1474602370" sldId="2331"/>
        </pc:sldMkLst>
      </pc:sldChg>
      <pc:sldChg chg="add del setBg">
        <pc:chgData name="Sami Ruotsalainen" userId="ca7d0a82-bb72-4b23-ae21-867fa9b9b13f" providerId="ADAL" clId="{17F25C9A-6EE7-4128-AA64-DD091B4BE9FB}" dt="2024-10-03T11:17:26.085" v="291"/>
        <pc:sldMkLst>
          <pc:docMk/>
          <pc:sldMk cId="2777784158" sldId="2332"/>
        </pc:sldMkLst>
      </pc:sldChg>
      <pc:sldChg chg="addSp delSp modSp add mod">
        <pc:chgData name="Sami Ruotsalainen" userId="ca7d0a82-bb72-4b23-ae21-867fa9b9b13f" providerId="ADAL" clId="{17F25C9A-6EE7-4128-AA64-DD091B4BE9FB}" dt="2024-10-03T11:29:00.870" v="739" actId="207"/>
        <pc:sldMkLst>
          <pc:docMk/>
          <pc:sldMk cId="4071812514" sldId="2332"/>
        </pc:sldMkLst>
        <pc:spChg chg="del">
          <ac:chgData name="Sami Ruotsalainen" userId="ca7d0a82-bb72-4b23-ae21-867fa9b9b13f" providerId="ADAL" clId="{17F25C9A-6EE7-4128-AA64-DD091B4BE9FB}" dt="2024-10-03T11:18:41.743" v="309" actId="478"/>
          <ac:spMkLst>
            <pc:docMk/>
            <pc:sldMk cId="4071812514" sldId="2332"/>
            <ac:spMk id="6" creationId="{837B3FA3-40F3-EF32-219B-20BF8E059852}"/>
          </ac:spMkLst>
        </pc:spChg>
        <pc:spChg chg="mod">
          <ac:chgData name="Sami Ruotsalainen" userId="ca7d0a82-bb72-4b23-ae21-867fa9b9b13f" providerId="ADAL" clId="{17F25C9A-6EE7-4128-AA64-DD091B4BE9FB}" dt="2024-10-03T11:29:00.870" v="739" actId="207"/>
          <ac:spMkLst>
            <pc:docMk/>
            <pc:sldMk cId="4071812514" sldId="2332"/>
            <ac:spMk id="7" creationId="{76FDEB8C-2E41-F065-8112-4D2C092CE446}"/>
          </ac:spMkLst>
        </pc:spChg>
        <pc:spChg chg="mod">
          <ac:chgData name="Sami Ruotsalainen" userId="ca7d0a82-bb72-4b23-ae21-867fa9b9b13f" providerId="ADAL" clId="{17F25C9A-6EE7-4128-AA64-DD091B4BE9FB}" dt="2024-10-03T11:27:40.914" v="564" actId="20577"/>
          <ac:spMkLst>
            <pc:docMk/>
            <pc:sldMk cId="4071812514" sldId="2332"/>
            <ac:spMk id="16" creationId="{D84090F2-88BC-8B9A-A403-1B57A1BEE8D4}"/>
          </ac:spMkLst>
        </pc:spChg>
        <pc:spChg chg="mod">
          <ac:chgData name="Sami Ruotsalainen" userId="ca7d0a82-bb72-4b23-ae21-867fa9b9b13f" providerId="ADAL" clId="{17F25C9A-6EE7-4128-AA64-DD091B4BE9FB}" dt="2024-10-03T11:24:58.918" v="488" actId="14100"/>
          <ac:spMkLst>
            <pc:docMk/>
            <pc:sldMk cId="4071812514" sldId="2332"/>
            <ac:spMk id="26" creationId="{9442913D-3C49-A45D-44C5-D96C4FA232A3}"/>
          </ac:spMkLst>
        </pc:spChg>
        <pc:spChg chg="mod">
          <ac:chgData name="Sami Ruotsalainen" userId="ca7d0a82-bb72-4b23-ae21-867fa9b9b13f" providerId="ADAL" clId="{17F25C9A-6EE7-4128-AA64-DD091B4BE9FB}" dt="2024-10-03T11:25:11.799" v="489" actId="403"/>
          <ac:spMkLst>
            <pc:docMk/>
            <pc:sldMk cId="4071812514" sldId="2332"/>
            <ac:spMk id="27" creationId="{4190599F-9657-7BD8-D803-DDA75278ED4A}"/>
          </ac:spMkLst>
        </pc:spChg>
        <pc:graphicFrameChg chg="add mod">
          <ac:chgData name="Sami Ruotsalainen" userId="ca7d0a82-bb72-4b23-ae21-867fa9b9b13f" providerId="ADAL" clId="{17F25C9A-6EE7-4128-AA64-DD091B4BE9FB}" dt="2024-10-03T11:22:21.789" v="345" actId="404"/>
          <ac:graphicFrameMkLst>
            <pc:docMk/>
            <pc:sldMk cId="4071812514" sldId="2332"/>
            <ac:graphicFrameMk id="8" creationId="{EC74EA8F-F6CF-6012-8EAE-ED77F7896744}"/>
          </ac:graphicFrameMkLst>
        </pc:graphicFrameChg>
        <pc:graphicFrameChg chg="del">
          <ac:chgData name="Sami Ruotsalainen" userId="ca7d0a82-bb72-4b23-ae21-867fa9b9b13f" providerId="ADAL" clId="{17F25C9A-6EE7-4128-AA64-DD091B4BE9FB}" dt="2024-10-03T11:19:46.174" v="322" actId="478"/>
          <ac:graphicFrameMkLst>
            <pc:docMk/>
            <pc:sldMk cId="4071812514" sldId="2332"/>
            <ac:graphicFrameMk id="10" creationId="{EE919C2B-65A6-C633-2FA3-70D8031F429D}"/>
          </ac:graphicFrameMkLst>
        </pc:graphicFrameChg>
      </pc:sldChg>
      <pc:sldChg chg="add del setBg">
        <pc:chgData name="Sami Ruotsalainen" userId="ca7d0a82-bb72-4b23-ae21-867fa9b9b13f" providerId="ADAL" clId="{17F25C9A-6EE7-4128-AA64-DD091B4BE9FB}" dt="2024-10-03T11:17:26.085" v="291"/>
        <pc:sldMkLst>
          <pc:docMk/>
          <pc:sldMk cId="1225762595" sldId="2333"/>
        </pc:sldMkLst>
      </pc:sldChg>
      <pc:sldChg chg="delSp modSp add mod">
        <pc:chgData name="Sami Ruotsalainen" userId="ca7d0a82-bb72-4b23-ae21-867fa9b9b13f" providerId="ADAL" clId="{17F25C9A-6EE7-4128-AA64-DD091B4BE9FB}" dt="2024-10-03T11:28:38.381" v="738" actId="20577"/>
        <pc:sldMkLst>
          <pc:docMk/>
          <pc:sldMk cId="3815777360" sldId="2333"/>
        </pc:sldMkLst>
        <pc:spChg chg="del">
          <ac:chgData name="Sami Ruotsalainen" userId="ca7d0a82-bb72-4b23-ae21-867fa9b9b13f" providerId="ADAL" clId="{17F25C9A-6EE7-4128-AA64-DD091B4BE9FB}" dt="2024-10-03T11:23:43.763" v="464" actId="478"/>
          <ac:spMkLst>
            <pc:docMk/>
            <pc:sldMk cId="3815777360" sldId="2333"/>
            <ac:spMk id="8" creationId="{4AE455FF-1104-A499-EF78-C23A54854FC1}"/>
          </ac:spMkLst>
        </pc:spChg>
        <pc:spChg chg="mod">
          <ac:chgData name="Sami Ruotsalainen" userId="ca7d0a82-bb72-4b23-ae21-867fa9b9b13f" providerId="ADAL" clId="{17F25C9A-6EE7-4128-AA64-DD091B4BE9FB}" dt="2024-10-03T11:28:38.381" v="738" actId="20577"/>
          <ac:spMkLst>
            <pc:docMk/>
            <pc:sldMk cId="3815777360" sldId="2333"/>
            <ac:spMk id="16" creationId="{D84090F2-88BC-8B9A-A403-1B57A1BEE8D4}"/>
          </ac:spMkLst>
        </pc:spChg>
        <pc:spChg chg="mod">
          <ac:chgData name="Sami Ruotsalainen" userId="ca7d0a82-bb72-4b23-ae21-867fa9b9b13f" providerId="ADAL" clId="{17F25C9A-6EE7-4128-AA64-DD091B4BE9FB}" dt="2024-10-03T11:24:14.951" v="473" actId="6549"/>
          <ac:spMkLst>
            <pc:docMk/>
            <pc:sldMk cId="3815777360" sldId="2333"/>
            <ac:spMk id="26" creationId="{9442913D-3C49-A45D-44C5-D96C4FA232A3}"/>
          </ac:spMkLst>
        </pc:spChg>
        <pc:spChg chg="mod">
          <ac:chgData name="Sami Ruotsalainen" userId="ca7d0a82-bb72-4b23-ae21-867fa9b9b13f" providerId="ADAL" clId="{17F25C9A-6EE7-4128-AA64-DD091B4BE9FB}" dt="2024-10-03T11:24:39.878" v="486" actId="6549"/>
          <ac:spMkLst>
            <pc:docMk/>
            <pc:sldMk cId="3815777360" sldId="2333"/>
            <ac:spMk id="27" creationId="{4190599F-9657-7BD8-D803-DDA75278ED4A}"/>
          </ac:spMkLst>
        </pc:spChg>
        <pc:graphicFrameChg chg="mod">
          <ac:chgData name="Sami Ruotsalainen" userId="ca7d0a82-bb72-4b23-ae21-867fa9b9b13f" providerId="ADAL" clId="{17F25C9A-6EE7-4128-AA64-DD091B4BE9FB}" dt="2024-10-03T11:26:58.536" v="515" actId="692"/>
          <ac:graphicFrameMkLst>
            <pc:docMk/>
            <pc:sldMk cId="3815777360" sldId="2333"/>
            <ac:graphicFrameMk id="6" creationId="{37B89598-5669-7B11-9490-D7B29270D5D5}"/>
          </ac:graphicFrameMkLst>
        </pc:graphicFrameChg>
      </pc:sldChg>
      <pc:sldChg chg="add del setBg">
        <pc:chgData name="Sami Ruotsalainen" userId="ca7d0a82-bb72-4b23-ae21-867fa9b9b13f" providerId="ADAL" clId="{17F25C9A-6EE7-4128-AA64-DD091B4BE9FB}" dt="2024-10-03T11:17:26.085" v="291"/>
        <pc:sldMkLst>
          <pc:docMk/>
          <pc:sldMk cId="698348549" sldId="2334"/>
        </pc:sldMkLst>
      </pc:sldChg>
      <pc:sldChg chg="delSp modSp add mod">
        <pc:chgData name="Sami Ruotsalainen" userId="ca7d0a82-bb72-4b23-ae21-867fa9b9b13f" providerId="ADAL" clId="{17F25C9A-6EE7-4128-AA64-DD091B4BE9FB}" dt="2024-10-04T18:59:03.972" v="6668" actId="403"/>
        <pc:sldMkLst>
          <pc:docMk/>
          <pc:sldMk cId="2899377281" sldId="2334"/>
        </pc:sldMkLst>
        <pc:spChg chg="del">
          <ac:chgData name="Sami Ruotsalainen" userId="ca7d0a82-bb72-4b23-ae21-867fa9b9b13f" providerId="ADAL" clId="{17F25C9A-6EE7-4128-AA64-DD091B4BE9FB}" dt="2024-10-03T11:25:19.424" v="490" actId="478"/>
          <ac:spMkLst>
            <pc:docMk/>
            <pc:sldMk cId="2899377281" sldId="2334"/>
            <ac:spMk id="6" creationId="{DEB68F98-48E1-1D4A-66D4-FAD409408B7F}"/>
          </ac:spMkLst>
        </pc:spChg>
        <pc:spChg chg="mod">
          <ac:chgData name="Sami Ruotsalainen" userId="ca7d0a82-bb72-4b23-ae21-867fa9b9b13f" providerId="ADAL" clId="{17F25C9A-6EE7-4128-AA64-DD091B4BE9FB}" dt="2024-10-03T11:30:47.221" v="878" actId="20577"/>
          <ac:spMkLst>
            <pc:docMk/>
            <pc:sldMk cId="2899377281" sldId="2334"/>
            <ac:spMk id="16" creationId="{D84090F2-88BC-8B9A-A403-1B57A1BEE8D4}"/>
          </ac:spMkLst>
        </pc:spChg>
        <pc:spChg chg="mod">
          <ac:chgData name="Sami Ruotsalainen" userId="ca7d0a82-bb72-4b23-ae21-867fa9b9b13f" providerId="ADAL" clId="{17F25C9A-6EE7-4128-AA64-DD091B4BE9FB}" dt="2024-10-03T11:25:45.951" v="501" actId="6549"/>
          <ac:spMkLst>
            <pc:docMk/>
            <pc:sldMk cId="2899377281" sldId="2334"/>
            <ac:spMk id="26" creationId="{9442913D-3C49-A45D-44C5-D96C4FA232A3}"/>
          </ac:spMkLst>
        </pc:spChg>
        <pc:spChg chg="mod">
          <ac:chgData name="Sami Ruotsalainen" userId="ca7d0a82-bb72-4b23-ae21-867fa9b9b13f" providerId="ADAL" clId="{17F25C9A-6EE7-4128-AA64-DD091B4BE9FB}" dt="2024-10-03T11:26:08.761" v="510" actId="6549"/>
          <ac:spMkLst>
            <pc:docMk/>
            <pc:sldMk cId="2899377281" sldId="2334"/>
            <ac:spMk id="27" creationId="{4190599F-9657-7BD8-D803-DDA75278ED4A}"/>
          </ac:spMkLst>
        </pc:spChg>
        <pc:graphicFrameChg chg="mod">
          <ac:chgData name="Sami Ruotsalainen" userId="ca7d0a82-bb72-4b23-ae21-867fa9b9b13f" providerId="ADAL" clId="{17F25C9A-6EE7-4128-AA64-DD091B4BE9FB}" dt="2024-10-04T18:59:03.972" v="6668" actId="403"/>
          <ac:graphicFrameMkLst>
            <pc:docMk/>
            <pc:sldMk cId="2899377281" sldId="2334"/>
            <ac:graphicFrameMk id="11" creationId="{BA9AFD32-8D2F-811A-1246-07375C674DA4}"/>
          </ac:graphicFrameMkLst>
        </pc:graphicFrameChg>
        <pc:graphicFrameChg chg="mod">
          <ac:chgData name="Sami Ruotsalainen" userId="ca7d0a82-bb72-4b23-ae21-867fa9b9b13f" providerId="ADAL" clId="{17F25C9A-6EE7-4128-AA64-DD091B4BE9FB}" dt="2024-10-04T18:58:57.310" v="6667"/>
          <ac:graphicFrameMkLst>
            <pc:docMk/>
            <pc:sldMk cId="2899377281" sldId="2334"/>
            <ac:graphicFrameMk id="13" creationId="{DBED24A0-DD96-E104-6749-DD046077149D}"/>
          </ac:graphicFrameMkLst>
        </pc:graphicFrameChg>
      </pc:sldChg>
      <pc:sldChg chg="add del setBg">
        <pc:chgData name="Sami Ruotsalainen" userId="ca7d0a82-bb72-4b23-ae21-867fa9b9b13f" providerId="ADAL" clId="{17F25C9A-6EE7-4128-AA64-DD091B4BE9FB}" dt="2024-10-03T11:33:55.339" v="881"/>
        <pc:sldMkLst>
          <pc:docMk/>
          <pc:sldMk cId="600424673" sldId="2335"/>
        </pc:sldMkLst>
      </pc:sldChg>
      <pc:sldChg chg="addSp delSp modSp mod">
        <pc:chgData name="Sami Ruotsalainen" userId="ca7d0a82-bb72-4b23-ae21-867fa9b9b13f" providerId="ADAL" clId="{17F25C9A-6EE7-4128-AA64-DD091B4BE9FB}" dt="2024-10-04T09:23:39.644" v="6262" actId="14100"/>
        <pc:sldMkLst>
          <pc:docMk/>
          <pc:sldMk cId="2634940776" sldId="2335"/>
        </pc:sldMkLst>
        <pc:spChg chg="mod">
          <ac:chgData name="Sami Ruotsalainen" userId="ca7d0a82-bb72-4b23-ae21-867fa9b9b13f" providerId="ADAL" clId="{17F25C9A-6EE7-4128-AA64-DD091B4BE9FB}" dt="2024-10-03T11:34:47.492" v="1019" actId="20577"/>
          <ac:spMkLst>
            <pc:docMk/>
            <pc:sldMk cId="2634940776" sldId="2335"/>
            <ac:spMk id="5" creationId="{869A9178-4BCB-85F1-CF83-0E36382A95D1}"/>
          </ac:spMkLst>
        </pc:spChg>
        <pc:spChg chg="del">
          <ac:chgData name="Sami Ruotsalainen" userId="ca7d0a82-bb72-4b23-ae21-867fa9b9b13f" providerId="ADAL" clId="{17F25C9A-6EE7-4128-AA64-DD091B4BE9FB}" dt="2024-10-03T11:34:09.591" v="953" actId="478"/>
          <ac:spMkLst>
            <pc:docMk/>
            <pc:sldMk cId="2634940776" sldId="2335"/>
            <ac:spMk id="6" creationId="{CA721397-A8A1-8E48-997B-3BDD3E0902CB}"/>
          </ac:spMkLst>
        </pc:spChg>
        <pc:spChg chg="add mod">
          <ac:chgData name="Sami Ruotsalainen" userId="ca7d0a82-bb72-4b23-ae21-867fa9b9b13f" providerId="ADAL" clId="{17F25C9A-6EE7-4128-AA64-DD091B4BE9FB}" dt="2024-10-04T09:08:07.658" v="6098" actId="14100"/>
          <ac:spMkLst>
            <pc:docMk/>
            <pc:sldMk cId="2634940776" sldId="2335"/>
            <ac:spMk id="7" creationId="{30978A5F-9EE8-8BC5-64ED-AE5B5278426A}"/>
          </ac:spMkLst>
        </pc:spChg>
        <pc:spChg chg="add del mod">
          <ac:chgData name="Sami Ruotsalainen" userId="ca7d0a82-bb72-4b23-ae21-867fa9b9b13f" providerId="ADAL" clId="{17F25C9A-6EE7-4128-AA64-DD091B4BE9FB}" dt="2024-10-03T11:36:20.389" v="1037" actId="478"/>
          <ac:spMkLst>
            <pc:docMk/>
            <pc:sldMk cId="2634940776" sldId="2335"/>
            <ac:spMk id="7" creationId="{444DD330-B2A9-0939-06E5-4C195584B38F}"/>
          </ac:spMkLst>
        </pc:spChg>
        <pc:spChg chg="add del mod">
          <ac:chgData name="Sami Ruotsalainen" userId="ca7d0a82-bb72-4b23-ae21-867fa9b9b13f" providerId="ADAL" clId="{17F25C9A-6EE7-4128-AA64-DD091B4BE9FB}" dt="2024-10-03T11:36:20.389" v="1037" actId="478"/>
          <ac:spMkLst>
            <pc:docMk/>
            <pc:sldMk cId="2634940776" sldId="2335"/>
            <ac:spMk id="8" creationId="{352F114E-24C9-0442-8FAD-1B59DE871FB2}"/>
          </ac:spMkLst>
        </pc:spChg>
        <pc:spChg chg="mod">
          <ac:chgData name="Sami Ruotsalainen" userId="ca7d0a82-bb72-4b23-ae21-867fa9b9b13f" providerId="ADAL" clId="{17F25C9A-6EE7-4128-AA64-DD091B4BE9FB}" dt="2024-10-03T11:41:41.311" v="1316" actId="14100"/>
          <ac:spMkLst>
            <pc:docMk/>
            <pc:sldMk cId="2634940776" sldId="2335"/>
            <ac:spMk id="9" creationId="{ABD824EA-818A-2135-5900-9AC6EC2417EA}"/>
          </ac:spMkLst>
        </pc:spChg>
        <pc:spChg chg="add del mod">
          <ac:chgData name="Sami Ruotsalainen" userId="ca7d0a82-bb72-4b23-ae21-867fa9b9b13f" providerId="ADAL" clId="{17F25C9A-6EE7-4128-AA64-DD091B4BE9FB}" dt="2024-10-03T11:36:20.389" v="1037" actId="478"/>
          <ac:spMkLst>
            <pc:docMk/>
            <pc:sldMk cId="2634940776" sldId="2335"/>
            <ac:spMk id="10" creationId="{D533C9EE-5486-8B16-6C93-AC13B9241E56}"/>
          </ac:spMkLst>
        </pc:spChg>
        <pc:spChg chg="add del mod">
          <ac:chgData name="Sami Ruotsalainen" userId="ca7d0a82-bb72-4b23-ae21-867fa9b9b13f" providerId="ADAL" clId="{17F25C9A-6EE7-4128-AA64-DD091B4BE9FB}" dt="2024-10-03T11:36:20.389" v="1037" actId="478"/>
          <ac:spMkLst>
            <pc:docMk/>
            <pc:sldMk cId="2634940776" sldId="2335"/>
            <ac:spMk id="11" creationId="{D37B934D-26DD-8A3A-CAC3-334F9B98B7DA}"/>
          </ac:spMkLst>
        </pc:spChg>
        <pc:spChg chg="mod">
          <ac:chgData name="Sami Ruotsalainen" userId="ca7d0a82-bb72-4b23-ae21-867fa9b9b13f" providerId="ADAL" clId="{17F25C9A-6EE7-4128-AA64-DD091B4BE9FB}" dt="2024-10-04T09:06:33.212" v="6087" actId="1076"/>
          <ac:spMkLst>
            <pc:docMk/>
            <pc:sldMk cId="2634940776" sldId="2335"/>
            <ac:spMk id="13" creationId="{2C731826-18A9-37BF-BF16-C8EC11D85DC5}"/>
          </ac:spMkLst>
        </pc:spChg>
        <pc:spChg chg="del mod topLvl">
          <ac:chgData name="Sami Ruotsalainen" userId="ca7d0a82-bb72-4b23-ae21-867fa9b9b13f" providerId="ADAL" clId="{17F25C9A-6EE7-4128-AA64-DD091B4BE9FB}" dt="2024-10-03T11:35:36.922" v="1028" actId="478"/>
          <ac:spMkLst>
            <pc:docMk/>
            <pc:sldMk cId="2634940776" sldId="2335"/>
            <ac:spMk id="14" creationId="{E6385F3F-0D60-C039-5F42-8059442A6C23}"/>
          </ac:spMkLst>
        </pc:spChg>
        <pc:spChg chg="del mod topLvl">
          <ac:chgData name="Sami Ruotsalainen" userId="ca7d0a82-bb72-4b23-ae21-867fa9b9b13f" providerId="ADAL" clId="{17F25C9A-6EE7-4128-AA64-DD091B4BE9FB}" dt="2024-10-03T11:36:20.389" v="1037" actId="478"/>
          <ac:spMkLst>
            <pc:docMk/>
            <pc:sldMk cId="2634940776" sldId="2335"/>
            <ac:spMk id="15" creationId="{A9EA4BE2-164E-2B29-C80D-EE3C438B0549}"/>
          </ac:spMkLst>
        </pc:spChg>
        <pc:spChg chg="add del mod">
          <ac:chgData name="Sami Ruotsalainen" userId="ca7d0a82-bb72-4b23-ae21-867fa9b9b13f" providerId="ADAL" clId="{17F25C9A-6EE7-4128-AA64-DD091B4BE9FB}" dt="2024-10-03T11:36:22.911" v="1038" actId="478"/>
          <ac:spMkLst>
            <pc:docMk/>
            <pc:sldMk cId="2634940776" sldId="2335"/>
            <ac:spMk id="16" creationId="{099FFFB5-05D9-C848-F3E9-ED4015F8FF2F}"/>
          </ac:spMkLst>
        </pc:spChg>
        <pc:spChg chg="mod topLvl">
          <ac:chgData name="Sami Ruotsalainen" userId="ca7d0a82-bb72-4b23-ae21-867fa9b9b13f" providerId="ADAL" clId="{17F25C9A-6EE7-4128-AA64-DD091B4BE9FB}" dt="2024-10-04T09:06:33.212" v="6087" actId="1076"/>
          <ac:spMkLst>
            <pc:docMk/>
            <pc:sldMk cId="2634940776" sldId="2335"/>
            <ac:spMk id="19" creationId="{E114FFFB-D4C7-8B5B-00FB-608CC2FB43D7}"/>
          </ac:spMkLst>
        </pc:spChg>
        <pc:spChg chg="add mod">
          <ac:chgData name="Sami Ruotsalainen" userId="ca7d0a82-bb72-4b23-ae21-867fa9b9b13f" providerId="ADAL" clId="{17F25C9A-6EE7-4128-AA64-DD091B4BE9FB}" dt="2024-10-04T09:23:39.644" v="6262" actId="14100"/>
          <ac:spMkLst>
            <pc:docMk/>
            <pc:sldMk cId="2634940776" sldId="2335"/>
            <ac:spMk id="21" creationId="{5087A138-FBB0-0DF1-10F7-D1A3D7E2E6E9}"/>
          </ac:spMkLst>
        </pc:spChg>
        <pc:spChg chg="add mod">
          <ac:chgData name="Sami Ruotsalainen" userId="ca7d0a82-bb72-4b23-ae21-867fa9b9b13f" providerId="ADAL" clId="{17F25C9A-6EE7-4128-AA64-DD091B4BE9FB}" dt="2024-10-04T09:06:33.212" v="6087" actId="1076"/>
          <ac:spMkLst>
            <pc:docMk/>
            <pc:sldMk cId="2634940776" sldId="2335"/>
            <ac:spMk id="22" creationId="{D1DE17D3-CB32-A32D-8364-084549CE53B7}"/>
          </ac:spMkLst>
        </pc:spChg>
        <pc:spChg chg="add del mod">
          <ac:chgData name="Sami Ruotsalainen" userId="ca7d0a82-bb72-4b23-ae21-867fa9b9b13f" providerId="ADAL" clId="{17F25C9A-6EE7-4128-AA64-DD091B4BE9FB}" dt="2024-10-04T09:06:20.732" v="6086" actId="478"/>
          <ac:spMkLst>
            <pc:docMk/>
            <pc:sldMk cId="2634940776" sldId="2335"/>
            <ac:spMk id="24" creationId="{AE17F279-7405-9CF5-7D59-2D801370287A}"/>
          </ac:spMkLst>
        </pc:spChg>
        <pc:spChg chg="add del mod">
          <ac:chgData name="Sami Ruotsalainen" userId="ca7d0a82-bb72-4b23-ae21-867fa9b9b13f" providerId="ADAL" clId="{17F25C9A-6EE7-4128-AA64-DD091B4BE9FB}" dt="2024-10-04T09:06:20.732" v="6086" actId="478"/>
          <ac:spMkLst>
            <pc:docMk/>
            <pc:sldMk cId="2634940776" sldId="2335"/>
            <ac:spMk id="25" creationId="{F04F8D08-FA4A-BC57-2332-0BF449648EC8}"/>
          </ac:spMkLst>
        </pc:spChg>
        <pc:spChg chg="del mod">
          <ac:chgData name="Sami Ruotsalainen" userId="ca7d0a82-bb72-4b23-ae21-867fa9b9b13f" providerId="ADAL" clId="{17F25C9A-6EE7-4128-AA64-DD091B4BE9FB}" dt="2024-10-03T11:36:20.389" v="1037" actId="478"/>
          <ac:spMkLst>
            <pc:docMk/>
            <pc:sldMk cId="2634940776" sldId="2335"/>
            <ac:spMk id="26" creationId="{9442913D-3C49-A45D-44C5-D96C4FA232A3}"/>
          </ac:spMkLst>
        </pc:spChg>
        <pc:spChg chg="del">
          <ac:chgData name="Sami Ruotsalainen" userId="ca7d0a82-bb72-4b23-ae21-867fa9b9b13f" providerId="ADAL" clId="{17F25C9A-6EE7-4128-AA64-DD091B4BE9FB}" dt="2024-10-03T11:35:36.922" v="1028" actId="478"/>
          <ac:spMkLst>
            <pc:docMk/>
            <pc:sldMk cId="2634940776" sldId="2335"/>
            <ac:spMk id="27" creationId="{4190599F-9657-7BD8-D803-DDA75278ED4A}"/>
          </ac:spMkLst>
        </pc:spChg>
        <pc:spChg chg="add del mod">
          <ac:chgData name="Sami Ruotsalainen" userId="ca7d0a82-bb72-4b23-ae21-867fa9b9b13f" providerId="ADAL" clId="{17F25C9A-6EE7-4128-AA64-DD091B4BE9FB}" dt="2024-10-04T09:06:20.732" v="6086" actId="478"/>
          <ac:spMkLst>
            <pc:docMk/>
            <pc:sldMk cId="2634940776" sldId="2335"/>
            <ac:spMk id="28" creationId="{8F0FEF7D-ED30-F5D1-4DE6-FC815C93FDDE}"/>
          </ac:spMkLst>
        </pc:spChg>
        <pc:spChg chg="add del mod">
          <ac:chgData name="Sami Ruotsalainen" userId="ca7d0a82-bb72-4b23-ae21-867fa9b9b13f" providerId="ADAL" clId="{17F25C9A-6EE7-4128-AA64-DD091B4BE9FB}" dt="2024-10-04T09:06:20.732" v="6086" actId="478"/>
          <ac:spMkLst>
            <pc:docMk/>
            <pc:sldMk cId="2634940776" sldId="2335"/>
            <ac:spMk id="29" creationId="{78517782-A171-91C7-1DBB-2F9DFC91A141}"/>
          </ac:spMkLst>
        </pc:spChg>
        <pc:spChg chg="add mod">
          <ac:chgData name="Sami Ruotsalainen" userId="ca7d0a82-bb72-4b23-ae21-867fa9b9b13f" providerId="ADAL" clId="{17F25C9A-6EE7-4128-AA64-DD091B4BE9FB}" dt="2024-10-04T09:06:33.212" v="6087" actId="1076"/>
          <ac:spMkLst>
            <pc:docMk/>
            <pc:sldMk cId="2634940776" sldId="2335"/>
            <ac:spMk id="31" creationId="{35B8EDE2-EBF6-149E-B3B2-A74F5EC54968}"/>
          </ac:spMkLst>
        </pc:spChg>
        <pc:spChg chg="add del mod">
          <ac:chgData name="Sami Ruotsalainen" userId="ca7d0a82-bb72-4b23-ae21-867fa9b9b13f" providerId="ADAL" clId="{17F25C9A-6EE7-4128-AA64-DD091B4BE9FB}" dt="2024-10-03T11:42:20.382" v="1322" actId="478"/>
          <ac:spMkLst>
            <pc:docMk/>
            <pc:sldMk cId="2634940776" sldId="2335"/>
            <ac:spMk id="32" creationId="{5637DCE1-D6E2-B9C2-28D1-80A688718343}"/>
          </ac:spMkLst>
        </pc:spChg>
        <pc:spChg chg="add mod">
          <ac:chgData name="Sami Ruotsalainen" userId="ca7d0a82-bb72-4b23-ae21-867fa9b9b13f" providerId="ADAL" clId="{17F25C9A-6EE7-4128-AA64-DD091B4BE9FB}" dt="2024-10-04T09:06:33.212" v="6087" actId="1076"/>
          <ac:spMkLst>
            <pc:docMk/>
            <pc:sldMk cId="2634940776" sldId="2335"/>
            <ac:spMk id="33" creationId="{19E137EE-D266-CF5E-702A-4355477749DD}"/>
          </ac:spMkLst>
        </pc:spChg>
        <pc:spChg chg="add del mod">
          <ac:chgData name="Sami Ruotsalainen" userId="ca7d0a82-bb72-4b23-ae21-867fa9b9b13f" providerId="ADAL" clId="{17F25C9A-6EE7-4128-AA64-DD091B4BE9FB}" dt="2024-10-04T09:06:20.732" v="6086" actId="478"/>
          <ac:spMkLst>
            <pc:docMk/>
            <pc:sldMk cId="2634940776" sldId="2335"/>
            <ac:spMk id="34" creationId="{DED6660B-F0AE-5D35-EAB3-AF14DFE219E1}"/>
          </ac:spMkLst>
        </pc:spChg>
        <pc:spChg chg="add del mod">
          <ac:chgData name="Sami Ruotsalainen" userId="ca7d0a82-bb72-4b23-ae21-867fa9b9b13f" providerId="ADAL" clId="{17F25C9A-6EE7-4128-AA64-DD091B4BE9FB}" dt="2024-10-04T09:06:20.732" v="6086" actId="478"/>
          <ac:spMkLst>
            <pc:docMk/>
            <pc:sldMk cId="2634940776" sldId="2335"/>
            <ac:spMk id="35" creationId="{5B79111E-92D0-097D-9BB4-BEEEE0F6D23D}"/>
          </ac:spMkLst>
        </pc:spChg>
        <pc:spChg chg="add mod">
          <ac:chgData name="Sami Ruotsalainen" userId="ca7d0a82-bb72-4b23-ae21-867fa9b9b13f" providerId="ADAL" clId="{17F25C9A-6EE7-4128-AA64-DD091B4BE9FB}" dt="2024-10-04T09:09:50.614" v="6140" actId="20577"/>
          <ac:spMkLst>
            <pc:docMk/>
            <pc:sldMk cId="2634940776" sldId="2335"/>
            <ac:spMk id="36" creationId="{12C03DC7-E2D7-8F0E-EEBE-6FA3E1469DA9}"/>
          </ac:spMkLst>
        </pc:spChg>
        <pc:grpChg chg="del">
          <ac:chgData name="Sami Ruotsalainen" userId="ca7d0a82-bb72-4b23-ae21-867fa9b9b13f" providerId="ADAL" clId="{17F25C9A-6EE7-4128-AA64-DD091B4BE9FB}" dt="2024-10-03T11:35:12.293" v="1022" actId="165"/>
          <ac:grpSpMkLst>
            <pc:docMk/>
            <pc:sldMk cId="2634940776" sldId="2335"/>
            <ac:grpSpMk id="23" creationId="{6A49D038-9698-48EC-A1FF-88A20CF7269C}"/>
          </ac:grpSpMkLst>
        </pc:grpChg>
        <pc:graphicFrameChg chg="add del mod">
          <ac:chgData name="Sami Ruotsalainen" userId="ca7d0a82-bb72-4b23-ae21-867fa9b9b13f" providerId="ADAL" clId="{17F25C9A-6EE7-4128-AA64-DD091B4BE9FB}" dt="2024-10-04T09:08:13.827" v="6099" actId="478"/>
          <ac:graphicFrameMkLst>
            <pc:docMk/>
            <pc:sldMk cId="2634940776" sldId="2335"/>
            <ac:graphicFrameMk id="6" creationId="{077EDBA0-FDAE-DC5B-C813-4DDF386FD36A}"/>
          </ac:graphicFrameMkLst>
        </pc:graphicFrameChg>
        <pc:graphicFrameChg chg="add mod">
          <ac:chgData name="Sami Ruotsalainen" userId="ca7d0a82-bb72-4b23-ae21-867fa9b9b13f" providerId="ADAL" clId="{17F25C9A-6EE7-4128-AA64-DD091B4BE9FB}" dt="2024-10-04T09:08:28.564" v="6103"/>
          <ac:graphicFrameMkLst>
            <pc:docMk/>
            <pc:sldMk cId="2634940776" sldId="2335"/>
            <ac:graphicFrameMk id="8" creationId="{077EDBA0-FDAE-DC5B-C813-4DDF386FD36A}"/>
          </ac:graphicFrameMkLst>
        </pc:graphicFrameChg>
        <pc:graphicFrameChg chg="add mod">
          <ac:chgData name="Sami Ruotsalainen" userId="ca7d0a82-bb72-4b23-ae21-867fa9b9b13f" providerId="ADAL" clId="{17F25C9A-6EE7-4128-AA64-DD091B4BE9FB}" dt="2024-10-04T09:16:43.641" v="6222" actId="403"/>
          <ac:graphicFrameMkLst>
            <pc:docMk/>
            <pc:sldMk cId="2634940776" sldId="2335"/>
            <ac:graphicFrameMk id="10" creationId="{077EDBA0-FDAE-DC5B-C813-4DDF386FD36A}"/>
          </ac:graphicFrameMkLst>
        </pc:graphicFrameChg>
        <pc:graphicFrameChg chg="del">
          <ac:chgData name="Sami Ruotsalainen" userId="ca7d0a82-bb72-4b23-ae21-867fa9b9b13f" providerId="ADAL" clId="{17F25C9A-6EE7-4128-AA64-DD091B4BE9FB}" dt="2024-10-03T11:35:00.756" v="1020" actId="478"/>
          <ac:graphicFrameMkLst>
            <pc:docMk/>
            <pc:sldMk cId="2634940776" sldId="2335"/>
            <ac:graphicFrameMk id="17" creationId="{916004BF-9B5F-41EC-0D4B-9AD5FB11874F}"/>
          </ac:graphicFrameMkLst>
        </pc:graphicFrameChg>
        <pc:graphicFrameChg chg="del">
          <ac:chgData name="Sami Ruotsalainen" userId="ca7d0a82-bb72-4b23-ae21-867fa9b9b13f" providerId="ADAL" clId="{17F25C9A-6EE7-4128-AA64-DD091B4BE9FB}" dt="2024-10-03T11:35:03.749" v="1021" actId="478"/>
          <ac:graphicFrameMkLst>
            <pc:docMk/>
            <pc:sldMk cId="2634940776" sldId="2335"/>
            <ac:graphicFrameMk id="18" creationId="{4B87452F-763E-83F9-404D-A5F6F820F8D0}"/>
          </ac:graphicFrameMkLst>
        </pc:graphicFrameChg>
        <pc:graphicFrameChg chg="del">
          <ac:chgData name="Sami Ruotsalainen" userId="ca7d0a82-bb72-4b23-ae21-867fa9b9b13f" providerId="ADAL" clId="{17F25C9A-6EE7-4128-AA64-DD091B4BE9FB}" dt="2024-10-03T11:35:03.749" v="1021" actId="478"/>
          <ac:graphicFrameMkLst>
            <pc:docMk/>
            <pc:sldMk cId="2634940776" sldId="2335"/>
            <ac:graphicFrameMk id="20" creationId="{BA7336CC-24D5-0084-090E-544DF3A4D0C4}"/>
          </ac:graphicFrameMkLst>
        </pc:graphicFrameChg>
      </pc:sldChg>
      <pc:sldChg chg="addSp delSp modSp add mod">
        <pc:chgData name="Sami Ruotsalainen" userId="ca7d0a82-bb72-4b23-ae21-867fa9b9b13f" providerId="ADAL" clId="{17F25C9A-6EE7-4128-AA64-DD091B4BE9FB}" dt="2024-10-04T09:29:21.304" v="6276" actId="6549"/>
        <pc:sldMkLst>
          <pc:docMk/>
          <pc:sldMk cId="1789160851" sldId="2336"/>
        </pc:sldMkLst>
        <pc:spChg chg="mod">
          <ac:chgData name="Sami Ruotsalainen" userId="ca7d0a82-bb72-4b23-ae21-867fa9b9b13f" providerId="ADAL" clId="{17F25C9A-6EE7-4128-AA64-DD091B4BE9FB}" dt="2024-10-03T14:20:36.354" v="3767" actId="14100"/>
          <ac:spMkLst>
            <pc:docMk/>
            <pc:sldMk cId="1789160851" sldId="2336"/>
            <ac:spMk id="5" creationId="{869A9178-4BCB-85F1-CF83-0E36382A95D1}"/>
          </ac:spMkLst>
        </pc:spChg>
        <pc:spChg chg="del">
          <ac:chgData name="Sami Ruotsalainen" userId="ca7d0a82-bb72-4b23-ae21-867fa9b9b13f" providerId="ADAL" clId="{17F25C9A-6EE7-4128-AA64-DD091B4BE9FB}" dt="2024-10-03T13:45:32.485" v="2039" actId="478"/>
          <ac:spMkLst>
            <pc:docMk/>
            <pc:sldMk cId="1789160851" sldId="2336"/>
            <ac:spMk id="6" creationId="{1360A88C-5E7E-6407-A5CB-AE9153741306}"/>
          </ac:spMkLst>
        </pc:spChg>
        <pc:spChg chg="mod">
          <ac:chgData name="Sami Ruotsalainen" userId="ca7d0a82-bb72-4b23-ae21-867fa9b9b13f" providerId="ADAL" clId="{17F25C9A-6EE7-4128-AA64-DD091B4BE9FB}" dt="2024-10-03T13:52:15.494" v="2257" actId="6549"/>
          <ac:spMkLst>
            <pc:docMk/>
            <pc:sldMk cId="1789160851" sldId="2336"/>
            <ac:spMk id="9" creationId="{ABD824EA-818A-2135-5900-9AC6EC2417EA}"/>
          </ac:spMkLst>
        </pc:spChg>
        <pc:spChg chg="add mod">
          <ac:chgData name="Sami Ruotsalainen" userId="ca7d0a82-bb72-4b23-ae21-867fa9b9b13f" providerId="ADAL" clId="{17F25C9A-6EE7-4128-AA64-DD091B4BE9FB}" dt="2024-10-03T15:33:21.473" v="5879" actId="20577"/>
          <ac:spMkLst>
            <pc:docMk/>
            <pc:sldMk cId="1789160851" sldId="2336"/>
            <ac:spMk id="11" creationId="{86F0B53E-3462-216A-1FEB-0842AEA66D0A}"/>
          </ac:spMkLst>
        </pc:spChg>
        <pc:spChg chg="mod">
          <ac:chgData name="Sami Ruotsalainen" userId="ca7d0a82-bb72-4b23-ae21-867fa9b9b13f" providerId="ADAL" clId="{17F25C9A-6EE7-4128-AA64-DD091B4BE9FB}" dt="2024-10-03T13:52:03.236" v="2187" actId="20577"/>
          <ac:spMkLst>
            <pc:docMk/>
            <pc:sldMk cId="1789160851" sldId="2336"/>
            <ac:spMk id="13" creationId="{2C731826-18A9-37BF-BF16-C8EC11D85DC5}"/>
          </ac:spMkLst>
        </pc:spChg>
        <pc:spChg chg="add mod">
          <ac:chgData name="Sami Ruotsalainen" userId="ca7d0a82-bb72-4b23-ae21-867fa9b9b13f" providerId="ADAL" clId="{17F25C9A-6EE7-4128-AA64-DD091B4BE9FB}" dt="2024-10-04T09:29:21.304" v="6276" actId="6549"/>
          <ac:spMkLst>
            <pc:docMk/>
            <pc:sldMk cId="1789160851" sldId="2336"/>
            <ac:spMk id="14" creationId="{9A22AA2A-78F6-846A-458B-271A83CB8F64}"/>
          </ac:spMkLst>
        </pc:spChg>
        <pc:spChg chg="mod">
          <ac:chgData name="Sami Ruotsalainen" userId="ca7d0a82-bb72-4b23-ae21-867fa9b9b13f" providerId="ADAL" clId="{17F25C9A-6EE7-4128-AA64-DD091B4BE9FB}" dt="2024-10-03T13:47:29.711" v="2095" actId="207"/>
          <ac:spMkLst>
            <pc:docMk/>
            <pc:sldMk cId="1789160851" sldId="2336"/>
            <ac:spMk id="15" creationId="{A9EA4BE2-164E-2B29-C80D-EE3C438B0549}"/>
          </ac:spMkLst>
        </pc:spChg>
        <pc:spChg chg="mod">
          <ac:chgData name="Sami Ruotsalainen" userId="ca7d0a82-bb72-4b23-ae21-867fa9b9b13f" providerId="ADAL" clId="{17F25C9A-6EE7-4128-AA64-DD091B4BE9FB}" dt="2024-10-03T13:47:29.711" v="2095" actId="207"/>
          <ac:spMkLst>
            <pc:docMk/>
            <pc:sldMk cId="1789160851" sldId="2336"/>
            <ac:spMk id="19" creationId="{E114FFFB-D4C7-8B5B-00FB-608CC2FB43D7}"/>
          </ac:spMkLst>
        </pc:spChg>
        <pc:spChg chg="mod">
          <ac:chgData name="Sami Ruotsalainen" userId="ca7d0a82-bb72-4b23-ae21-867fa9b9b13f" providerId="ADAL" clId="{17F25C9A-6EE7-4128-AA64-DD091B4BE9FB}" dt="2024-10-03T13:51:45.934" v="2162" actId="14100"/>
          <ac:spMkLst>
            <pc:docMk/>
            <pc:sldMk cId="1789160851" sldId="2336"/>
            <ac:spMk id="26" creationId="{9442913D-3C49-A45D-44C5-D96C4FA232A3}"/>
          </ac:spMkLst>
        </pc:spChg>
        <pc:graphicFrameChg chg="del">
          <ac:chgData name="Sami Ruotsalainen" userId="ca7d0a82-bb72-4b23-ae21-867fa9b9b13f" providerId="ADAL" clId="{17F25C9A-6EE7-4128-AA64-DD091B4BE9FB}" dt="2024-10-03T13:45:49.414" v="2041" actId="478"/>
          <ac:graphicFrameMkLst>
            <pc:docMk/>
            <pc:sldMk cId="1789160851" sldId="2336"/>
            <ac:graphicFrameMk id="8" creationId="{6C0463B8-E1BC-D2BC-9C44-AE752AEF04C5}"/>
          </ac:graphicFrameMkLst>
        </pc:graphicFrameChg>
        <pc:graphicFrameChg chg="del">
          <ac:chgData name="Sami Ruotsalainen" userId="ca7d0a82-bb72-4b23-ae21-867fa9b9b13f" providerId="ADAL" clId="{17F25C9A-6EE7-4128-AA64-DD091B4BE9FB}" dt="2024-10-03T13:45:51.335" v="2042" actId="478"/>
          <ac:graphicFrameMkLst>
            <pc:docMk/>
            <pc:sldMk cId="1789160851" sldId="2336"/>
            <ac:graphicFrameMk id="10" creationId="{28D59A04-43FB-6C43-20B9-BD53A7EA9C0E}"/>
          </ac:graphicFrameMkLst>
        </pc:graphicFrameChg>
      </pc:sldChg>
      <pc:sldChg chg="add del setBg">
        <pc:chgData name="Sami Ruotsalainen" userId="ca7d0a82-bb72-4b23-ae21-867fa9b9b13f" providerId="ADAL" clId="{17F25C9A-6EE7-4128-AA64-DD091B4BE9FB}" dt="2024-10-03T13:45:30.912" v="2037"/>
        <pc:sldMkLst>
          <pc:docMk/>
          <pc:sldMk cId="2263561179" sldId="2336"/>
        </pc:sldMkLst>
      </pc:sldChg>
      <pc:sldChg chg="modSp add mod">
        <pc:chgData name="Sami Ruotsalainen" userId="ca7d0a82-bb72-4b23-ae21-867fa9b9b13f" providerId="ADAL" clId="{17F25C9A-6EE7-4128-AA64-DD091B4BE9FB}" dt="2024-10-03T15:39:58.519" v="6007" actId="6549"/>
        <pc:sldMkLst>
          <pc:docMk/>
          <pc:sldMk cId="3286906433" sldId="2337"/>
        </pc:sldMkLst>
        <pc:spChg chg="mod">
          <ac:chgData name="Sami Ruotsalainen" userId="ca7d0a82-bb72-4b23-ae21-867fa9b9b13f" providerId="ADAL" clId="{17F25C9A-6EE7-4128-AA64-DD091B4BE9FB}" dt="2024-10-03T14:20:40.720" v="3768" actId="14100"/>
          <ac:spMkLst>
            <pc:docMk/>
            <pc:sldMk cId="3286906433" sldId="2337"/>
            <ac:spMk id="5" creationId="{869A9178-4BCB-85F1-CF83-0E36382A95D1}"/>
          </ac:spMkLst>
        </pc:spChg>
        <pc:spChg chg="mod">
          <ac:chgData name="Sami Ruotsalainen" userId="ca7d0a82-bb72-4b23-ae21-867fa9b9b13f" providerId="ADAL" clId="{17F25C9A-6EE7-4128-AA64-DD091B4BE9FB}" dt="2024-10-03T14:01:51.176" v="3066" actId="6549"/>
          <ac:spMkLst>
            <pc:docMk/>
            <pc:sldMk cId="3286906433" sldId="2337"/>
            <ac:spMk id="9" creationId="{ABD824EA-818A-2135-5900-9AC6EC2417EA}"/>
          </ac:spMkLst>
        </pc:spChg>
        <pc:spChg chg="mod">
          <ac:chgData name="Sami Ruotsalainen" userId="ca7d0a82-bb72-4b23-ae21-867fa9b9b13f" providerId="ADAL" clId="{17F25C9A-6EE7-4128-AA64-DD091B4BE9FB}" dt="2024-10-03T15:38:41.950" v="5978" actId="20577"/>
          <ac:spMkLst>
            <pc:docMk/>
            <pc:sldMk cId="3286906433" sldId="2337"/>
            <ac:spMk id="11" creationId="{86F0B53E-3462-216A-1FEB-0842AEA66D0A}"/>
          </ac:spMkLst>
        </pc:spChg>
        <pc:spChg chg="mod">
          <ac:chgData name="Sami Ruotsalainen" userId="ca7d0a82-bb72-4b23-ae21-867fa9b9b13f" providerId="ADAL" clId="{17F25C9A-6EE7-4128-AA64-DD091B4BE9FB}" dt="2024-10-03T15:39:58.519" v="6007" actId="6549"/>
          <ac:spMkLst>
            <pc:docMk/>
            <pc:sldMk cId="3286906433" sldId="2337"/>
            <ac:spMk id="14" creationId="{9A22AA2A-78F6-846A-458B-271A83CB8F64}"/>
          </ac:spMkLst>
        </pc:spChg>
      </pc:sldChg>
      <pc:sldChg chg="addSp delSp modSp add mod">
        <pc:chgData name="Sami Ruotsalainen" userId="ca7d0a82-bb72-4b23-ae21-867fa9b9b13f" providerId="ADAL" clId="{17F25C9A-6EE7-4128-AA64-DD091B4BE9FB}" dt="2024-10-04T09:33:12.629" v="6580" actId="20577"/>
        <pc:sldMkLst>
          <pc:docMk/>
          <pc:sldMk cId="4205050444" sldId="2338"/>
        </pc:sldMkLst>
        <pc:spChg chg="mod">
          <ac:chgData name="Sami Ruotsalainen" userId="ca7d0a82-bb72-4b23-ae21-867fa9b9b13f" providerId="ADAL" clId="{17F25C9A-6EE7-4128-AA64-DD091B4BE9FB}" dt="2024-10-03T14:20:18.393" v="3766" actId="14100"/>
          <ac:spMkLst>
            <pc:docMk/>
            <pc:sldMk cId="4205050444" sldId="2338"/>
            <ac:spMk id="5" creationId="{869A9178-4BCB-85F1-CF83-0E36382A95D1}"/>
          </ac:spMkLst>
        </pc:spChg>
        <pc:spChg chg="mod">
          <ac:chgData name="Sami Ruotsalainen" userId="ca7d0a82-bb72-4b23-ae21-867fa9b9b13f" providerId="ADAL" clId="{17F25C9A-6EE7-4128-AA64-DD091B4BE9FB}" dt="2024-10-03T14:20:50.920" v="3803" actId="6549"/>
          <ac:spMkLst>
            <pc:docMk/>
            <pc:sldMk cId="4205050444" sldId="2338"/>
            <ac:spMk id="9" creationId="{ABD824EA-818A-2135-5900-9AC6EC2417EA}"/>
          </ac:spMkLst>
        </pc:spChg>
        <pc:spChg chg="mod">
          <ac:chgData name="Sami Ruotsalainen" userId="ca7d0a82-bb72-4b23-ae21-867fa9b9b13f" providerId="ADAL" clId="{17F25C9A-6EE7-4128-AA64-DD091B4BE9FB}" dt="2024-10-04T09:33:12.629" v="6580" actId="20577"/>
          <ac:spMkLst>
            <pc:docMk/>
            <pc:sldMk cId="4205050444" sldId="2338"/>
            <ac:spMk id="11" creationId="{86F0B53E-3462-216A-1FEB-0842AEA66D0A}"/>
          </ac:spMkLst>
        </pc:spChg>
        <pc:spChg chg="mod">
          <ac:chgData name="Sami Ruotsalainen" userId="ca7d0a82-bb72-4b23-ae21-867fa9b9b13f" providerId="ADAL" clId="{17F25C9A-6EE7-4128-AA64-DD091B4BE9FB}" dt="2024-10-03T15:40:42.699" v="6011" actId="20577"/>
          <ac:spMkLst>
            <pc:docMk/>
            <pc:sldMk cId="4205050444" sldId="2338"/>
            <ac:spMk id="14" creationId="{9A22AA2A-78F6-846A-458B-271A83CB8F64}"/>
          </ac:spMkLst>
        </pc:spChg>
        <pc:picChg chg="add del mod">
          <ac:chgData name="Sami Ruotsalainen" userId="ca7d0a82-bb72-4b23-ae21-867fa9b9b13f" providerId="ADAL" clId="{17F25C9A-6EE7-4128-AA64-DD091B4BE9FB}" dt="2024-10-03T14:24:06.796" v="3829" actId="478"/>
          <ac:picMkLst>
            <pc:docMk/>
            <pc:sldMk cId="4205050444" sldId="2338"/>
            <ac:picMk id="6" creationId="{42AB1EC9-526A-8D21-74AF-8A17391E7BD3}"/>
          </ac:picMkLst>
        </pc:picChg>
      </pc:sldChg>
      <pc:sldChg chg="modSp add mod">
        <pc:chgData name="Sami Ruotsalainen" userId="ca7d0a82-bb72-4b23-ae21-867fa9b9b13f" providerId="ADAL" clId="{17F25C9A-6EE7-4128-AA64-DD091B4BE9FB}" dt="2024-10-03T15:45:23.042" v="6059" actId="20577"/>
        <pc:sldMkLst>
          <pc:docMk/>
          <pc:sldMk cId="1841530469" sldId="2339"/>
        </pc:sldMkLst>
        <pc:spChg chg="mod">
          <ac:chgData name="Sami Ruotsalainen" userId="ca7d0a82-bb72-4b23-ae21-867fa9b9b13f" providerId="ADAL" clId="{17F25C9A-6EE7-4128-AA64-DD091B4BE9FB}" dt="2024-10-03T14:34:11.571" v="4055" actId="14100"/>
          <ac:spMkLst>
            <pc:docMk/>
            <pc:sldMk cId="1841530469" sldId="2339"/>
            <ac:spMk id="5" creationId="{869A9178-4BCB-85F1-CF83-0E36382A95D1}"/>
          </ac:spMkLst>
        </pc:spChg>
        <pc:spChg chg="mod">
          <ac:chgData name="Sami Ruotsalainen" userId="ca7d0a82-bb72-4b23-ae21-867fa9b9b13f" providerId="ADAL" clId="{17F25C9A-6EE7-4128-AA64-DD091B4BE9FB}" dt="2024-10-03T14:35:45.873" v="4226" actId="6549"/>
          <ac:spMkLst>
            <pc:docMk/>
            <pc:sldMk cId="1841530469" sldId="2339"/>
            <ac:spMk id="9" creationId="{ABD824EA-818A-2135-5900-9AC6EC2417EA}"/>
          </ac:spMkLst>
        </pc:spChg>
        <pc:spChg chg="mod">
          <ac:chgData name="Sami Ruotsalainen" userId="ca7d0a82-bb72-4b23-ae21-867fa9b9b13f" providerId="ADAL" clId="{17F25C9A-6EE7-4128-AA64-DD091B4BE9FB}" dt="2024-10-03T15:45:23.042" v="6059" actId="20577"/>
          <ac:spMkLst>
            <pc:docMk/>
            <pc:sldMk cId="1841530469" sldId="2339"/>
            <ac:spMk id="11" creationId="{86F0B53E-3462-216A-1FEB-0842AEA66D0A}"/>
          </ac:spMkLst>
        </pc:spChg>
        <pc:spChg chg="mod">
          <ac:chgData name="Sami Ruotsalainen" userId="ca7d0a82-bb72-4b23-ae21-867fa9b9b13f" providerId="ADAL" clId="{17F25C9A-6EE7-4128-AA64-DD091B4BE9FB}" dt="2024-10-03T14:34:33.599" v="4098" actId="6549"/>
          <ac:spMkLst>
            <pc:docMk/>
            <pc:sldMk cId="1841530469" sldId="2339"/>
            <ac:spMk id="13" creationId="{2C731826-18A9-37BF-BF16-C8EC11D85DC5}"/>
          </ac:spMkLst>
        </pc:spChg>
        <pc:spChg chg="mod">
          <ac:chgData name="Sami Ruotsalainen" userId="ca7d0a82-bb72-4b23-ae21-867fa9b9b13f" providerId="ADAL" clId="{17F25C9A-6EE7-4128-AA64-DD091B4BE9FB}" dt="2024-10-03T15:45:01.743" v="6055" actId="6549"/>
          <ac:spMkLst>
            <pc:docMk/>
            <pc:sldMk cId="1841530469" sldId="2339"/>
            <ac:spMk id="14" creationId="{9A22AA2A-78F6-846A-458B-271A83CB8F64}"/>
          </ac:spMkLst>
        </pc:spChg>
        <pc:spChg chg="mod">
          <ac:chgData name="Sami Ruotsalainen" userId="ca7d0a82-bb72-4b23-ae21-867fa9b9b13f" providerId="ADAL" clId="{17F25C9A-6EE7-4128-AA64-DD091B4BE9FB}" dt="2024-10-03T14:34:43.169" v="4173" actId="6549"/>
          <ac:spMkLst>
            <pc:docMk/>
            <pc:sldMk cId="1841530469" sldId="2339"/>
            <ac:spMk id="26" creationId="{9442913D-3C49-A45D-44C5-D96C4FA232A3}"/>
          </ac:spMkLst>
        </pc:spChg>
      </pc:sldChg>
      <pc:sldChg chg="addSp delSp modSp add mod">
        <pc:chgData name="Sami Ruotsalainen" userId="ca7d0a82-bb72-4b23-ae21-867fa9b9b13f" providerId="ADAL" clId="{17F25C9A-6EE7-4128-AA64-DD091B4BE9FB}" dt="2024-10-04T10:11:11.255" v="6665"/>
        <pc:sldMkLst>
          <pc:docMk/>
          <pc:sldMk cId="2447684172" sldId="2340"/>
        </pc:sldMkLst>
        <pc:spChg chg="mod">
          <ac:chgData name="Sami Ruotsalainen" userId="ca7d0a82-bb72-4b23-ae21-867fa9b9b13f" providerId="ADAL" clId="{17F25C9A-6EE7-4128-AA64-DD091B4BE9FB}" dt="2024-10-03T14:39:27.775" v="4417" actId="207"/>
          <ac:spMkLst>
            <pc:docMk/>
            <pc:sldMk cId="2447684172" sldId="2340"/>
            <ac:spMk id="5" creationId="{869A9178-4BCB-85F1-CF83-0E36382A95D1}"/>
          </ac:spMkLst>
        </pc:spChg>
        <pc:spChg chg="mod">
          <ac:chgData name="Sami Ruotsalainen" userId="ca7d0a82-bb72-4b23-ae21-867fa9b9b13f" providerId="ADAL" clId="{17F25C9A-6EE7-4128-AA64-DD091B4BE9FB}" dt="2024-10-03T14:39:17.538" v="4416" actId="6549"/>
          <ac:spMkLst>
            <pc:docMk/>
            <pc:sldMk cId="2447684172" sldId="2340"/>
            <ac:spMk id="9" creationId="{ABD824EA-818A-2135-5900-9AC6EC2417EA}"/>
          </ac:spMkLst>
        </pc:spChg>
        <pc:spChg chg="mod">
          <ac:chgData name="Sami Ruotsalainen" userId="ca7d0a82-bb72-4b23-ae21-867fa9b9b13f" providerId="ADAL" clId="{17F25C9A-6EE7-4128-AA64-DD091B4BE9FB}" dt="2024-10-03T15:47:20.866" v="6074" actId="14100"/>
          <ac:spMkLst>
            <pc:docMk/>
            <pc:sldMk cId="2447684172" sldId="2340"/>
            <ac:spMk id="11" creationId="{86F0B53E-3462-216A-1FEB-0842AEA66D0A}"/>
          </ac:spMkLst>
        </pc:spChg>
        <pc:spChg chg="add del mod">
          <ac:chgData name="Sami Ruotsalainen" userId="ca7d0a82-bb72-4b23-ae21-867fa9b9b13f" providerId="ADAL" clId="{17F25C9A-6EE7-4128-AA64-DD091B4BE9FB}" dt="2024-10-03T15:46:42.643" v="6071" actId="478"/>
          <ac:spMkLst>
            <pc:docMk/>
            <pc:sldMk cId="2447684172" sldId="2340"/>
            <ac:spMk id="12" creationId="{832B3425-4345-A8A3-8DA7-9D639CF5F5FE}"/>
          </ac:spMkLst>
        </pc:spChg>
        <pc:spChg chg="mod">
          <ac:chgData name="Sami Ruotsalainen" userId="ca7d0a82-bb72-4b23-ae21-867fa9b9b13f" providerId="ADAL" clId="{17F25C9A-6EE7-4128-AA64-DD091B4BE9FB}" dt="2024-10-03T15:47:31.943" v="6076" actId="14100"/>
          <ac:spMkLst>
            <pc:docMk/>
            <pc:sldMk cId="2447684172" sldId="2340"/>
            <ac:spMk id="13" creationId="{2C731826-18A9-37BF-BF16-C8EC11D85DC5}"/>
          </ac:spMkLst>
        </pc:spChg>
        <pc:spChg chg="del mod">
          <ac:chgData name="Sami Ruotsalainen" userId="ca7d0a82-bb72-4b23-ae21-867fa9b9b13f" providerId="ADAL" clId="{17F25C9A-6EE7-4128-AA64-DD091B4BE9FB}" dt="2024-10-03T14:44:38.109" v="4665" actId="478"/>
          <ac:spMkLst>
            <pc:docMk/>
            <pc:sldMk cId="2447684172" sldId="2340"/>
            <ac:spMk id="14" creationId="{9A22AA2A-78F6-846A-458B-271A83CB8F64}"/>
          </ac:spMkLst>
        </pc:spChg>
        <pc:spChg chg="mod">
          <ac:chgData name="Sami Ruotsalainen" userId="ca7d0a82-bb72-4b23-ae21-867fa9b9b13f" providerId="ADAL" clId="{17F25C9A-6EE7-4128-AA64-DD091B4BE9FB}" dt="2024-10-03T15:47:42.567" v="6079" actId="14100"/>
          <ac:spMkLst>
            <pc:docMk/>
            <pc:sldMk cId="2447684172" sldId="2340"/>
            <ac:spMk id="15" creationId="{A9EA4BE2-164E-2B29-C80D-EE3C438B0549}"/>
          </ac:spMkLst>
        </pc:spChg>
        <pc:spChg chg="mod">
          <ac:chgData name="Sami Ruotsalainen" userId="ca7d0a82-bb72-4b23-ae21-867fa9b9b13f" providerId="ADAL" clId="{17F25C9A-6EE7-4128-AA64-DD091B4BE9FB}" dt="2024-10-03T15:47:26.144" v="6075" actId="14100"/>
          <ac:spMkLst>
            <pc:docMk/>
            <pc:sldMk cId="2447684172" sldId="2340"/>
            <ac:spMk id="19" creationId="{E114FFFB-D4C7-8B5B-00FB-608CC2FB43D7}"/>
          </ac:spMkLst>
        </pc:spChg>
        <pc:spChg chg="del mod">
          <ac:chgData name="Sami Ruotsalainen" userId="ca7d0a82-bb72-4b23-ae21-867fa9b9b13f" providerId="ADAL" clId="{17F25C9A-6EE7-4128-AA64-DD091B4BE9FB}" dt="2024-10-03T15:46:40.186" v="6070" actId="478"/>
          <ac:spMkLst>
            <pc:docMk/>
            <pc:sldMk cId="2447684172" sldId="2340"/>
            <ac:spMk id="26" creationId="{9442913D-3C49-A45D-44C5-D96C4FA232A3}"/>
          </ac:spMkLst>
        </pc:spChg>
        <pc:graphicFrameChg chg="add mod">
          <ac:chgData name="Sami Ruotsalainen" userId="ca7d0a82-bb72-4b23-ae21-867fa9b9b13f" providerId="ADAL" clId="{17F25C9A-6EE7-4128-AA64-DD091B4BE9FB}" dt="2024-10-03T14:40:55.291" v="4529"/>
          <ac:graphicFrameMkLst>
            <pc:docMk/>
            <pc:sldMk cId="2447684172" sldId="2340"/>
            <ac:graphicFrameMk id="6" creationId="{CC9B23FE-37A6-84A6-1C67-141DCCC28FBE}"/>
          </ac:graphicFrameMkLst>
        </pc:graphicFrameChg>
        <pc:graphicFrameChg chg="add mod modGraphic">
          <ac:chgData name="Sami Ruotsalainen" userId="ca7d0a82-bb72-4b23-ae21-867fa9b9b13f" providerId="ADAL" clId="{17F25C9A-6EE7-4128-AA64-DD091B4BE9FB}" dt="2024-10-04T10:11:11.255" v="6665"/>
          <ac:graphicFrameMkLst>
            <pc:docMk/>
            <pc:sldMk cId="2447684172" sldId="2340"/>
            <ac:graphicFrameMk id="7" creationId="{DA6853BD-BC8F-5D2F-7389-409917F654B2}"/>
          </ac:graphicFrameMkLst>
        </pc:graphicFrameChg>
        <pc:graphicFrameChg chg="add del mod modGraphic">
          <ac:chgData name="Sami Ruotsalainen" userId="ca7d0a82-bb72-4b23-ae21-867fa9b9b13f" providerId="ADAL" clId="{17F25C9A-6EE7-4128-AA64-DD091B4BE9FB}" dt="2024-10-03T14:43:35.398" v="4633" actId="478"/>
          <ac:graphicFrameMkLst>
            <pc:docMk/>
            <pc:sldMk cId="2447684172" sldId="2340"/>
            <ac:graphicFrameMk id="8" creationId="{6E27E553-91D4-5ECA-4DDA-61366910F335}"/>
          </ac:graphicFrameMkLst>
        </pc:graphicFrameChg>
      </pc:sldChg>
      <pc:sldChg chg="addSp delSp modSp add mod">
        <pc:chgData name="Sami Ruotsalainen" userId="ca7d0a82-bb72-4b23-ae21-867fa9b9b13f" providerId="ADAL" clId="{17F25C9A-6EE7-4128-AA64-DD091B4BE9FB}" dt="2024-10-04T09:47:06.881" v="6610" actId="6549"/>
        <pc:sldMkLst>
          <pc:docMk/>
          <pc:sldMk cId="4151674131" sldId="2341"/>
        </pc:sldMkLst>
        <pc:spChg chg="mod">
          <ac:chgData name="Sami Ruotsalainen" userId="ca7d0a82-bb72-4b23-ae21-867fa9b9b13f" providerId="ADAL" clId="{17F25C9A-6EE7-4128-AA64-DD091B4BE9FB}" dt="2024-10-03T14:59:43.459" v="5416" actId="207"/>
          <ac:spMkLst>
            <pc:docMk/>
            <pc:sldMk cId="4151674131" sldId="2341"/>
            <ac:spMk id="5" creationId="{869A9178-4BCB-85F1-CF83-0E36382A95D1}"/>
          </ac:spMkLst>
        </pc:spChg>
        <pc:spChg chg="add del mod">
          <ac:chgData name="Sami Ruotsalainen" userId="ca7d0a82-bb72-4b23-ae21-867fa9b9b13f" providerId="ADAL" clId="{17F25C9A-6EE7-4128-AA64-DD091B4BE9FB}" dt="2024-10-03T14:57:56.771" v="5343" actId="478"/>
          <ac:spMkLst>
            <pc:docMk/>
            <pc:sldMk cId="4151674131" sldId="2341"/>
            <ac:spMk id="8" creationId="{D977A85D-8916-0779-3DAB-F22AE9D92853}"/>
          </ac:spMkLst>
        </pc:spChg>
        <pc:spChg chg="mod">
          <ac:chgData name="Sami Ruotsalainen" userId="ca7d0a82-bb72-4b23-ae21-867fa9b9b13f" providerId="ADAL" clId="{17F25C9A-6EE7-4128-AA64-DD091B4BE9FB}" dt="2024-10-03T14:59:26.377" v="5414" actId="20577"/>
          <ac:spMkLst>
            <pc:docMk/>
            <pc:sldMk cId="4151674131" sldId="2341"/>
            <ac:spMk id="9" creationId="{ABD824EA-818A-2135-5900-9AC6EC2417EA}"/>
          </ac:spMkLst>
        </pc:spChg>
        <pc:spChg chg="mod">
          <ac:chgData name="Sami Ruotsalainen" userId="ca7d0a82-bb72-4b23-ae21-867fa9b9b13f" providerId="ADAL" clId="{17F25C9A-6EE7-4128-AA64-DD091B4BE9FB}" dt="2024-10-04T09:47:06.881" v="6610" actId="6549"/>
          <ac:spMkLst>
            <pc:docMk/>
            <pc:sldMk cId="4151674131" sldId="2341"/>
            <ac:spMk id="11" creationId="{86F0B53E-3462-216A-1FEB-0842AEA66D0A}"/>
          </ac:spMkLst>
        </pc:spChg>
        <pc:spChg chg="del">
          <ac:chgData name="Sami Ruotsalainen" userId="ca7d0a82-bb72-4b23-ae21-867fa9b9b13f" providerId="ADAL" clId="{17F25C9A-6EE7-4128-AA64-DD091B4BE9FB}" dt="2024-10-03T14:58:19.977" v="5347" actId="478"/>
          <ac:spMkLst>
            <pc:docMk/>
            <pc:sldMk cId="4151674131" sldId="2341"/>
            <ac:spMk id="13" creationId="{2C731826-18A9-37BF-BF16-C8EC11D85DC5}"/>
          </ac:spMkLst>
        </pc:spChg>
        <pc:spChg chg="del">
          <ac:chgData name="Sami Ruotsalainen" userId="ca7d0a82-bb72-4b23-ae21-867fa9b9b13f" providerId="ADAL" clId="{17F25C9A-6EE7-4128-AA64-DD091B4BE9FB}" dt="2024-10-03T14:58:08.458" v="5345" actId="478"/>
          <ac:spMkLst>
            <pc:docMk/>
            <pc:sldMk cId="4151674131" sldId="2341"/>
            <ac:spMk id="15" creationId="{A9EA4BE2-164E-2B29-C80D-EE3C438B0549}"/>
          </ac:spMkLst>
        </pc:spChg>
        <pc:spChg chg="mod">
          <ac:chgData name="Sami Ruotsalainen" userId="ca7d0a82-bb72-4b23-ae21-867fa9b9b13f" providerId="ADAL" clId="{17F25C9A-6EE7-4128-AA64-DD091B4BE9FB}" dt="2024-10-03T14:59:48.903" v="5417" actId="207"/>
          <ac:spMkLst>
            <pc:docMk/>
            <pc:sldMk cId="4151674131" sldId="2341"/>
            <ac:spMk id="19" creationId="{E114FFFB-D4C7-8B5B-00FB-608CC2FB43D7}"/>
          </ac:spMkLst>
        </pc:spChg>
        <pc:spChg chg="del">
          <ac:chgData name="Sami Ruotsalainen" userId="ca7d0a82-bb72-4b23-ae21-867fa9b9b13f" providerId="ADAL" clId="{17F25C9A-6EE7-4128-AA64-DD091B4BE9FB}" dt="2024-10-03T14:57:52.132" v="5342" actId="478"/>
          <ac:spMkLst>
            <pc:docMk/>
            <pc:sldMk cId="4151674131" sldId="2341"/>
            <ac:spMk id="26" creationId="{9442913D-3C49-A45D-44C5-D96C4FA232A3}"/>
          </ac:spMkLst>
        </pc:spChg>
        <pc:graphicFrameChg chg="del">
          <ac:chgData name="Sami Ruotsalainen" userId="ca7d0a82-bb72-4b23-ae21-867fa9b9b13f" providerId="ADAL" clId="{17F25C9A-6EE7-4128-AA64-DD091B4BE9FB}" dt="2024-10-03T14:57:49.995" v="5341" actId="478"/>
          <ac:graphicFrameMkLst>
            <pc:docMk/>
            <pc:sldMk cId="4151674131" sldId="2341"/>
            <ac:graphicFrameMk id="7" creationId="{DA6853BD-BC8F-5D2F-7389-409917F654B2}"/>
          </ac:graphicFrameMkLst>
        </pc:graphicFrameChg>
        <pc:graphicFrameChg chg="add del mod modGraphic">
          <ac:chgData name="Sami Ruotsalainen" userId="ca7d0a82-bb72-4b23-ae21-867fa9b9b13f" providerId="ADAL" clId="{17F25C9A-6EE7-4128-AA64-DD091B4BE9FB}" dt="2024-10-03T15:08:48.317" v="5509" actId="478"/>
          <ac:graphicFrameMkLst>
            <pc:docMk/>
            <pc:sldMk cId="4151674131" sldId="2341"/>
            <ac:graphicFrameMk id="37" creationId="{2609F386-1EB6-AF3B-AEB3-AEEA9F17C04F}"/>
          </ac:graphicFrameMkLst>
        </pc:graphicFrameChg>
        <pc:picChg chg="add mod">
          <ac:chgData name="Sami Ruotsalainen" userId="ca7d0a82-bb72-4b23-ae21-867fa9b9b13f" providerId="ADAL" clId="{17F25C9A-6EE7-4128-AA64-DD091B4BE9FB}" dt="2024-10-03T15:15:20.507" v="5600" actId="1035"/>
          <ac:picMkLst>
            <pc:docMk/>
            <pc:sldMk cId="4151674131" sldId="2341"/>
            <ac:picMk id="12" creationId="{BDD9EFFA-106E-3A72-AB46-BC3E31AC77D4}"/>
          </ac:picMkLst>
        </pc:picChg>
        <pc:picChg chg="add del mod">
          <ac:chgData name="Sami Ruotsalainen" userId="ca7d0a82-bb72-4b23-ae21-867fa9b9b13f" providerId="ADAL" clId="{17F25C9A-6EE7-4128-AA64-DD091B4BE9FB}" dt="2024-10-03T15:03:11.403" v="5459" actId="478"/>
          <ac:picMkLst>
            <pc:docMk/>
            <pc:sldMk cId="4151674131" sldId="2341"/>
            <ac:picMk id="16" creationId="{485C4B23-851E-BA19-B5ED-1A9408207E15}"/>
          </ac:picMkLst>
        </pc:picChg>
        <pc:picChg chg="add del mod">
          <ac:chgData name="Sami Ruotsalainen" userId="ca7d0a82-bb72-4b23-ae21-867fa9b9b13f" providerId="ADAL" clId="{17F25C9A-6EE7-4128-AA64-DD091B4BE9FB}" dt="2024-10-03T15:03:10.178" v="5458" actId="478"/>
          <ac:picMkLst>
            <pc:docMk/>
            <pc:sldMk cId="4151674131" sldId="2341"/>
            <ac:picMk id="18" creationId="{277FDFDF-AD8B-0B9B-C741-C111BEBCBF06}"/>
          </ac:picMkLst>
        </pc:picChg>
        <pc:picChg chg="add mod">
          <ac:chgData name="Sami Ruotsalainen" userId="ca7d0a82-bb72-4b23-ae21-867fa9b9b13f" providerId="ADAL" clId="{17F25C9A-6EE7-4128-AA64-DD091B4BE9FB}" dt="2024-10-03T15:15:25.659" v="5602" actId="1035"/>
          <ac:picMkLst>
            <pc:docMk/>
            <pc:sldMk cId="4151674131" sldId="2341"/>
            <ac:picMk id="21" creationId="{25BE60A3-8408-E4BB-3A83-867AA0F62439}"/>
          </ac:picMkLst>
        </pc:picChg>
        <pc:picChg chg="add del mod">
          <ac:chgData name="Sami Ruotsalainen" userId="ca7d0a82-bb72-4b23-ae21-867fa9b9b13f" providerId="ADAL" clId="{17F25C9A-6EE7-4128-AA64-DD091B4BE9FB}" dt="2024-10-03T15:13:43.275" v="5563" actId="478"/>
          <ac:picMkLst>
            <pc:docMk/>
            <pc:sldMk cId="4151674131" sldId="2341"/>
            <ac:picMk id="23" creationId="{3A659E20-6314-B99F-0545-B430CFF7ED37}"/>
          </ac:picMkLst>
        </pc:picChg>
        <pc:picChg chg="add mod">
          <ac:chgData name="Sami Ruotsalainen" userId="ca7d0a82-bb72-4b23-ae21-867fa9b9b13f" providerId="ADAL" clId="{17F25C9A-6EE7-4128-AA64-DD091B4BE9FB}" dt="2024-10-03T15:14:45.865" v="5594" actId="1038"/>
          <ac:picMkLst>
            <pc:docMk/>
            <pc:sldMk cId="4151674131" sldId="2341"/>
            <ac:picMk id="25" creationId="{80CB3943-7929-9017-8250-77163784C563}"/>
          </ac:picMkLst>
        </pc:picChg>
        <pc:picChg chg="add mod">
          <ac:chgData name="Sami Ruotsalainen" userId="ca7d0a82-bb72-4b23-ae21-867fa9b9b13f" providerId="ADAL" clId="{17F25C9A-6EE7-4128-AA64-DD091B4BE9FB}" dt="2024-10-03T15:15:28.468" v="5603" actId="1035"/>
          <ac:picMkLst>
            <pc:docMk/>
            <pc:sldMk cId="4151674131" sldId="2341"/>
            <ac:picMk id="28" creationId="{47EB121D-3828-FFAC-ECDA-15D7E4850C83}"/>
          </ac:picMkLst>
        </pc:picChg>
        <pc:picChg chg="add del mod">
          <ac:chgData name="Sami Ruotsalainen" userId="ca7d0a82-bb72-4b23-ae21-867fa9b9b13f" providerId="ADAL" clId="{17F25C9A-6EE7-4128-AA64-DD091B4BE9FB}" dt="2024-10-03T15:09:12.558" v="5513" actId="478"/>
          <ac:picMkLst>
            <pc:docMk/>
            <pc:sldMk cId="4151674131" sldId="2341"/>
            <ac:picMk id="30" creationId="{ADA3791C-3FAA-BE07-B388-D93EC1718E60}"/>
          </ac:picMkLst>
        </pc:picChg>
        <pc:picChg chg="add mod">
          <ac:chgData name="Sami Ruotsalainen" userId="ca7d0a82-bb72-4b23-ae21-867fa9b9b13f" providerId="ADAL" clId="{17F25C9A-6EE7-4128-AA64-DD091B4BE9FB}" dt="2024-10-03T15:14:56.555" v="5596" actId="1036"/>
          <ac:picMkLst>
            <pc:docMk/>
            <pc:sldMk cId="4151674131" sldId="2341"/>
            <ac:picMk id="32" creationId="{264350E0-EA0B-846C-E61A-75C738059603}"/>
          </ac:picMkLst>
        </pc:picChg>
        <pc:picChg chg="add mod">
          <ac:chgData name="Sami Ruotsalainen" userId="ca7d0a82-bb72-4b23-ae21-867fa9b9b13f" providerId="ADAL" clId="{17F25C9A-6EE7-4128-AA64-DD091B4BE9FB}" dt="2024-10-03T15:15:03.728" v="5598" actId="1036"/>
          <ac:picMkLst>
            <pc:docMk/>
            <pc:sldMk cId="4151674131" sldId="2341"/>
            <ac:picMk id="34" creationId="{07B73524-7F55-BCC4-1FD8-E1397FE7B924}"/>
          </ac:picMkLst>
        </pc:picChg>
        <pc:picChg chg="add mod">
          <ac:chgData name="Sami Ruotsalainen" userId="ca7d0a82-bb72-4b23-ae21-867fa9b9b13f" providerId="ADAL" clId="{17F25C9A-6EE7-4128-AA64-DD091B4BE9FB}" dt="2024-10-03T15:14:45.865" v="5594" actId="1038"/>
          <ac:picMkLst>
            <pc:docMk/>
            <pc:sldMk cId="4151674131" sldId="2341"/>
            <ac:picMk id="36" creationId="{7C410CDB-F851-0D7D-7F75-64BB03E46085}"/>
          </ac:picMkLst>
        </pc:picChg>
        <pc:picChg chg="add mod">
          <ac:chgData name="Sami Ruotsalainen" userId="ca7d0a82-bb72-4b23-ae21-867fa9b9b13f" providerId="ADAL" clId="{17F25C9A-6EE7-4128-AA64-DD091B4BE9FB}" dt="2024-10-03T15:15:31.517" v="5604" actId="1035"/>
          <ac:picMkLst>
            <pc:docMk/>
            <pc:sldMk cId="4151674131" sldId="2341"/>
            <ac:picMk id="39" creationId="{28DD271C-B3BB-8118-2CC7-82E90E0FB316}"/>
          </ac:picMkLst>
        </pc:picChg>
        <pc:picChg chg="add mod">
          <ac:chgData name="Sami Ruotsalainen" userId="ca7d0a82-bb72-4b23-ae21-867fa9b9b13f" providerId="ADAL" clId="{17F25C9A-6EE7-4128-AA64-DD091B4BE9FB}" dt="2024-10-03T15:14:45.865" v="5594" actId="1038"/>
          <ac:picMkLst>
            <pc:docMk/>
            <pc:sldMk cId="4151674131" sldId="2341"/>
            <ac:picMk id="41" creationId="{FF7885F1-47DB-EA8D-1912-7E7EF0146532}"/>
          </ac:picMkLst>
        </pc:picChg>
        <pc:picChg chg="add mod">
          <ac:chgData name="Sami Ruotsalainen" userId="ca7d0a82-bb72-4b23-ae21-867fa9b9b13f" providerId="ADAL" clId="{17F25C9A-6EE7-4128-AA64-DD091B4BE9FB}" dt="2024-10-03T15:14:45.865" v="5594" actId="1038"/>
          <ac:picMkLst>
            <pc:docMk/>
            <pc:sldMk cId="4151674131" sldId="2341"/>
            <ac:picMk id="43" creationId="{9A47AA6E-D3F6-11BD-0D57-590A898821DD}"/>
          </ac:picMkLst>
        </pc:picChg>
      </pc:sldChg>
      <pc:sldChg chg="addSp delSp modSp add mod">
        <pc:chgData name="Sami Ruotsalainen" userId="ca7d0a82-bb72-4b23-ae21-867fa9b9b13f" providerId="ADAL" clId="{17F25C9A-6EE7-4128-AA64-DD091B4BE9FB}" dt="2024-10-04T09:23:28.311" v="6261" actId="14100"/>
        <pc:sldMkLst>
          <pc:docMk/>
          <pc:sldMk cId="428365364" sldId="2342"/>
        </pc:sldMkLst>
        <pc:spChg chg="add mod">
          <ac:chgData name="Sami Ruotsalainen" userId="ca7d0a82-bb72-4b23-ae21-867fa9b9b13f" providerId="ADAL" clId="{17F25C9A-6EE7-4128-AA64-DD091B4BE9FB}" dt="2024-10-04T09:15:10.804" v="6196" actId="14100"/>
          <ac:spMkLst>
            <pc:docMk/>
            <pc:sldMk cId="428365364" sldId="2342"/>
            <ac:spMk id="6" creationId="{2CB23B71-DD0A-7A15-BF16-7226F53597FB}"/>
          </ac:spMkLst>
        </pc:spChg>
        <pc:spChg chg="add del">
          <ac:chgData name="Sami Ruotsalainen" userId="ca7d0a82-bb72-4b23-ae21-867fa9b9b13f" providerId="ADAL" clId="{17F25C9A-6EE7-4128-AA64-DD091B4BE9FB}" dt="2024-10-04T09:06:55.651" v="6091" actId="478"/>
          <ac:spMkLst>
            <pc:docMk/>
            <pc:sldMk cId="428365364" sldId="2342"/>
            <ac:spMk id="13" creationId="{2C731826-18A9-37BF-BF16-C8EC11D85DC5}"/>
          </ac:spMkLst>
        </pc:spChg>
        <pc:spChg chg="add del">
          <ac:chgData name="Sami Ruotsalainen" userId="ca7d0a82-bb72-4b23-ae21-867fa9b9b13f" providerId="ADAL" clId="{17F25C9A-6EE7-4128-AA64-DD091B4BE9FB}" dt="2024-10-04T09:06:55.651" v="6091" actId="478"/>
          <ac:spMkLst>
            <pc:docMk/>
            <pc:sldMk cId="428365364" sldId="2342"/>
            <ac:spMk id="19" creationId="{E114FFFB-D4C7-8B5B-00FB-608CC2FB43D7}"/>
          </ac:spMkLst>
        </pc:spChg>
        <pc:spChg chg="add del">
          <ac:chgData name="Sami Ruotsalainen" userId="ca7d0a82-bb72-4b23-ae21-867fa9b9b13f" providerId="ADAL" clId="{17F25C9A-6EE7-4128-AA64-DD091B4BE9FB}" dt="2024-10-04T09:06:55.651" v="6091" actId="478"/>
          <ac:spMkLst>
            <pc:docMk/>
            <pc:sldMk cId="428365364" sldId="2342"/>
            <ac:spMk id="21" creationId="{5087A138-FBB0-0DF1-10F7-D1A3D7E2E6E9}"/>
          </ac:spMkLst>
        </pc:spChg>
        <pc:spChg chg="add del">
          <ac:chgData name="Sami Ruotsalainen" userId="ca7d0a82-bb72-4b23-ae21-867fa9b9b13f" providerId="ADAL" clId="{17F25C9A-6EE7-4128-AA64-DD091B4BE9FB}" dt="2024-10-04T09:06:55.651" v="6091" actId="478"/>
          <ac:spMkLst>
            <pc:docMk/>
            <pc:sldMk cId="428365364" sldId="2342"/>
            <ac:spMk id="22" creationId="{D1DE17D3-CB32-A32D-8364-084549CE53B7}"/>
          </ac:spMkLst>
        </pc:spChg>
        <pc:spChg chg="mod">
          <ac:chgData name="Sami Ruotsalainen" userId="ca7d0a82-bb72-4b23-ae21-867fa9b9b13f" providerId="ADAL" clId="{17F25C9A-6EE7-4128-AA64-DD091B4BE9FB}" dt="2024-10-04T09:15:33.427" v="6198" actId="14100"/>
          <ac:spMkLst>
            <pc:docMk/>
            <pc:sldMk cId="428365364" sldId="2342"/>
            <ac:spMk id="24" creationId="{AE17F279-7405-9CF5-7D59-2D801370287A}"/>
          </ac:spMkLst>
        </pc:spChg>
        <pc:spChg chg="mod">
          <ac:chgData name="Sami Ruotsalainen" userId="ca7d0a82-bb72-4b23-ae21-867fa9b9b13f" providerId="ADAL" clId="{17F25C9A-6EE7-4128-AA64-DD091B4BE9FB}" dt="2024-10-04T09:07:02.971" v="6092" actId="1076"/>
          <ac:spMkLst>
            <pc:docMk/>
            <pc:sldMk cId="428365364" sldId="2342"/>
            <ac:spMk id="25" creationId="{F04F8D08-FA4A-BC57-2332-0BF449648EC8}"/>
          </ac:spMkLst>
        </pc:spChg>
        <pc:spChg chg="mod">
          <ac:chgData name="Sami Ruotsalainen" userId="ca7d0a82-bb72-4b23-ae21-867fa9b9b13f" providerId="ADAL" clId="{17F25C9A-6EE7-4128-AA64-DD091B4BE9FB}" dt="2024-10-04T09:23:28.311" v="6261" actId="14100"/>
          <ac:spMkLst>
            <pc:docMk/>
            <pc:sldMk cId="428365364" sldId="2342"/>
            <ac:spMk id="28" creationId="{8F0FEF7D-ED30-F5D1-4DE6-FC815C93FDDE}"/>
          </ac:spMkLst>
        </pc:spChg>
        <pc:spChg chg="mod">
          <ac:chgData name="Sami Ruotsalainen" userId="ca7d0a82-bb72-4b23-ae21-867fa9b9b13f" providerId="ADAL" clId="{17F25C9A-6EE7-4128-AA64-DD091B4BE9FB}" dt="2024-10-04T09:07:02.971" v="6092" actId="1076"/>
          <ac:spMkLst>
            <pc:docMk/>
            <pc:sldMk cId="428365364" sldId="2342"/>
            <ac:spMk id="29" creationId="{78517782-A171-91C7-1DBB-2F9DFC91A141}"/>
          </ac:spMkLst>
        </pc:spChg>
        <pc:spChg chg="add del">
          <ac:chgData name="Sami Ruotsalainen" userId="ca7d0a82-bb72-4b23-ae21-867fa9b9b13f" providerId="ADAL" clId="{17F25C9A-6EE7-4128-AA64-DD091B4BE9FB}" dt="2024-10-04T09:06:55.651" v="6091" actId="478"/>
          <ac:spMkLst>
            <pc:docMk/>
            <pc:sldMk cId="428365364" sldId="2342"/>
            <ac:spMk id="31" creationId="{35B8EDE2-EBF6-149E-B3B2-A74F5EC54968}"/>
          </ac:spMkLst>
        </pc:spChg>
        <pc:spChg chg="add del">
          <ac:chgData name="Sami Ruotsalainen" userId="ca7d0a82-bb72-4b23-ae21-867fa9b9b13f" providerId="ADAL" clId="{17F25C9A-6EE7-4128-AA64-DD091B4BE9FB}" dt="2024-10-04T09:06:55.651" v="6091" actId="478"/>
          <ac:spMkLst>
            <pc:docMk/>
            <pc:sldMk cId="428365364" sldId="2342"/>
            <ac:spMk id="33" creationId="{19E137EE-D266-CF5E-702A-4355477749DD}"/>
          </ac:spMkLst>
        </pc:spChg>
        <pc:spChg chg="mod">
          <ac:chgData name="Sami Ruotsalainen" userId="ca7d0a82-bb72-4b23-ae21-867fa9b9b13f" providerId="ADAL" clId="{17F25C9A-6EE7-4128-AA64-DD091B4BE9FB}" dt="2024-10-04T09:07:02.971" v="6092" actId="1076"/>
          <ac:spMkLst>
            <pc:docMk/>
            <pc:sldMk cId="428365364" sldId="2342"/>
            <ac:spMk id="34" creationId="{DED6660B-F0AE-5D35-EAB3-AF14DFE219E1}"/>
          </ac:spMkLst>
        </pc:spChg>
        <pc:spChg chg="mod">
          <ac:chgData name="Sami Ruotsalainen" userId="ca7d0a82-bb72-4b23-ae21-867fa9b9b13f" providerId="ADAL" clId="{17F25C9A-6EE7-4128-AA64-DD091B4BE9FB}" dt="2024-10-04T09:07:02.971" v="6092" actId="1076"/>
          <ac:spMkLst>
            <pc:docMk/>
            <pc:sldMk cId="428365364" sldId="2342"/>
            <ac:spMk id="35" creationId="{5B79111E-92D0-097D-9BB4-BEEEE0F6D23D}"/>
          </ac:spMkLst>
        </pc:spChg>
        <pc:spChg chg="mod">
          <ac:chgData name="Sami Ruotsalainen" userId="ca7d0a82-bb72-4b23-ae21-867fa9b9b13f" providerId="ADAL" clId="{17F25C9A-6EE7-4128-AA64-DD091B4BE9FB}" dt="2024-10-04T09:16:18.409" v="6216" actId="20577"/>
          <ac:spMkLst>
            <pc:docMk/>
            <pc:sldMk cId="428365364" sldId="2342"/>
            <ac:spMk id="36" creationId="{12C03DC7-E2D7-8F0E-EEBE-6FA3E1469DA9}"/>
          </ac:spMkLst>
        </pc:spChg>
        <pc:graphicFrameChg chg="add mod">
          <ac:chgData name="Sami Ruotsalainen" userId="ca7d0a82-bb72-4b23-ae21-867fa9b9b13f" providerId="ADAL" clId="{17F25C9A-6EE7-4128-AA64-DD091B4BE9FB}" dt="2024-10-04T09:15:45.521" v="6202"/>
          <ac:graphicFrameMkLst>
            <pc:docMk/>
            <pc:sldMk cId="428365364" sldId="2342"/>
            <ac:graphicFrameMk id="7" creationId="{D081A84E-4DFD-496C-89B0-1D28DEF05CAE}"/>
          </ac:graphicFrameMkLst>
        </pc:graphicFrameChg>
        <pc:graphicFrameChg chg="add mod">
          <ac:chgData name="Sami Ruotsalainen" userId="ca7d0a82-bb72-4b23-ae21-867fa9b9b13f" providerId="ADAL" clId="{17F25C9A-6EE7-4128-AA64-DD091B4BE9FB}" dt="2024-10-04T09:22:30.902" v="6258" actId="20577"/>
          <ac:graphicFrameMkLst>
            <pc:docMk/>
            <pc:sldMk cId="428365364" sldId="2342"/>
            <ac:graphicFrameMk id="8" creationId="{D081A84E-4DFD-496C-89B0-1D28DEF05CAE}"/>
          </ac:graphicFrameMkLst>
        </pc:graphicFrameChg>
      </pc:sldChg>
      <pc:sldChg chg="add del">
        <pc:chgData name="Sami Ruotsalainen" userId="ca7d0a82-bb72-4b23-ae21-867fa9b9b13f" providerId="ADAL" clId="{17F25C9A-6EE7-4128-AA64-DD091B4BE9FB}" dt="2024-10-04T09:23:48.389" v="6263" actId="47"/>
        <pc:sldMkLst>
          <pc:docMk/>
          <pc:sldMk cId="1016559364" sldId="2343"/>
        </pc:sldMkLst>
      </pc:sldChg>
      <pc:sldMasterChg chg="delSldLayout">
        <pc:chgData name="Sami Ruotsalainen" userId="ca7d0a82-bb72-4b23-ae21-867fa9b9b13f" providerId="ADAL" clId="{17F25C9A-6EE7-4128-AA64-DD091B4BE9FB}" dt="2024-10-03T15:17:15.601" v="5605" actId="47"/>
        <pc:sldMasterMkLst>
          <pc:docMk/>
          <pc:sldMasterMk cId="729942253" sldId="2147483648"/>
        </pc:sldMasterMkLst>
        <pc:sldLayoutChg chg="del">
          <pc:chgData name="Sami Ruotsalainen" userId="ca7d0a82-bb72-4b23-ae21-867fa9b9b13f" providerId="ADAL" clId="{17F25C9A-6EE7-4128-AA64-DD091B4BE9FB}" dt="2024-10-03T15:17:15.601" v="5605" actId="47"/>
          <pc:sldLayoutMkLst>
            <pc:docMk/>
            <pc:sldMasterMk cId="729942253" sldId="2147483648"/>
            <pc:sldLayoutMk cId="2203766051" sldId="2147483742"/>
          </pc:sldLayoutMkLst>
        </pc:sldLayoutChg>
        <pc:sldLayoutChg chg="del">
          <pc:chgData name="Sami Ruotsalainen" userId="ca7d0a82-bb72-4b23-ae21-867fa9b9b13f" providerId="ADAL" clId="{17F25C9A-6EE7-4128-AA64-DD091B4BE9FB}" dt="2024-10-03T15:17:15.601" v="5605" actId="47"/>
          <pc:sldLayoutMkLst>
            <pc:docMk/>
            <pc:sldMasterMk cId="729942253" sldId="2147483648"/>
            <pc:sldLayoutMk cId="2577472395" sldId="2147483743"/>
          </pc:sldLayoutMkLst>
        </pc:sldLayoutChg>
      </pc:sldMasterChg>
      <pc:sldMasterChg chg="delSldLayout">
        <pc:chgData name="Sami Ruotsalainen" userId="ca7d0a82-bb72-4b23-ae21-867fa9b9b13f" providerId="ADAL" clId="{17F25C9A-6EE7-4128-AA64-DD091B4BE9FB}" dt="2024-10-03T15:17:15.601" v="5605" actId="47"/>
        <pc:sldMasterMkLst>
          <pc:docMk/>
          <pc:sldMasterMk cId="486578958" sldId="2147483711"/>
        </pc:sldMasterMkLst>
        <pc:sldLayoutChg chg="del">
          <pc:chgData name="Sami Ruotsalainen" userId="ca7d0a82-bb72-4b23-ae21-867fa9b9b13f" providerId="ADAL" clId="{17F25C9A-6EE7-4128-AA64-DD091B4BE9FB}" dt="2024-10-03T15:17:15.601" v="5605" actId="47"/>
          <pc:sldLayoutMkLst>
            <pc:docMk/>
            <pc:sldMasterMk cId="486578958" sldId="2147483711"/>
            <pc:sldLayoutMk cId="1707069339" sldId="2147483741"/>
          </pc:sldLayoutMkLst>
        </pc:sldLayoutChg>
      </pc:sldMasterChg>
    </pc:docChg>
  </pc:docChgLst>
  <pc:docChgLst>
    <pc:chgData name="Samuel Rintamäki" userId="629c6419-5b68-4ba7-a2c4-1e58a48069f7" providerId="ADAL" clId="{864ACD51-2E2E-4C8B-94C0-9B62A4A2CE63}"/>
    <pc:docChg chg="undo redo custSel modSld">
      <pc:chgData name="Samuel Rintamäki" userId="629c6419-5b68-4ba7-a2c4-1e58a48069f7" providerId="ADAL" clId="{864ACD51-2E2E-4C8B-94C0-9B62A4A2CE63}" dt="2024-10-02T11:54:40.341" v="325" actId="20577"/>
      <pc:docMkLst>
        <pc:docMk/>
      </pc:docMkLst>
      <pc:sldChg chg="modSp mod">
        <pc:chgData name="Samuel Rintamäki" userId="629c6419-5b68-4ba7-a2c4-1e58a48069f7" providerId="ADAL" clId="{864ACD51-2E2E-4C8B-94C0-9B62A4A2CE63}" dt="2024-10-02T11:41:22.456" v="15" actId="20577"/>
        <pc:sldMkLst>
          <pc:docMk/>
          <pc:sldMk cId="3681436765" sldId="267"/>
        </pc:sldMkLst>
        <pc:spChg chg="mod">
          <ac:chgData name="Samuel Rintamäki" userId="629c6419-5b68-4ba7-a2c4-1e58a48069f7" providerId="ADAL" clId="{864ACD51-2E2E-4C8B-94C0-9B62A4A2CE63}" dt="2024-10-02T11:41:22.456" v="15" actId="20577"/>
          <ac:spMkLst>
            <pc:docMk/>
            <pc:sldMk cId="3681436765" sldId="267"/>
            <ac:spMk id="12" creationId="{54676348-D246-26BF-47A7-28A42A166B97}"/>
          </ac:spMkLst>
        </pc:spChg>
      </pc:sldChg>
      <pc:sldChg chg="modSp mod">
        <pc:chgData name="Samuel Rintamäki" userId="629c6419-5b68-4ba7-a2c4-1e58a48069f7" providerId="ADAL" clId="{864ACD51-2E2E-4C8B-94C0-9B62A4A2CE63}" dt="2024-10-02T11:43:20.943" v="96" actId="20577"/>
        <pc:sldMkLst>
          <pc:docMk/>
          <pc:sldMk cId="956414826" sldId="268"/>
        </pc:sldMkLst>
        <pc:spChg chg="mod">
          <ac:chgData name="Samuel Rintamäki" userId="629c6419-5b68-4ba7-a2c4-1e58a48069f7" providerId="ADAL" clId="{864ACD51-2E2E-4C8B-94C0-9B62A4A2CE63}" dt="2024-10-02T11:43:20.943" v="96" actId="20577"/>
          <ac:spMkLst>
            <pc:docMk/>
            <pc:sldMk cId="956414826" sldId="268"/>
            <ac:spMk id="12" creationId="{54676348-D246-26BF-47A7-28A42A166B97}"/>
          </ac:spMkLst>
        </pc:spChg>
      </pc:sldChg>
      <pc:sldChg chg="modSp mod">
        <pc:chgData name="Samuel Rintamäki" userId="629c6419-5b68-4ba7-a2c4-1e58a48069f7" providerId="ADAL" clId="{864ACD51-2E2E-4C8B-94C0-9B62A4A2CE63}" dt="2024-10-02T11:52:57.408" v="179" actId="1036"/>
        <pc:sldMkLst>
          <pc:docMk/>
          <pc:sldMk cId="3225025497" sldId="271"/>
        </pc:sldMkLst>
        <pc:spChg chg="mod">
          <ac:chgData name="Samuel Rintamäki" userId="629c6419-5b68-4ba7-a2c4-1e58a48069f7" providerId="ADAL" clId="{864ACD51-2E2E-4C8B-94C0-9B62A4A2CE63}" dt="2024-10-02T11:52:51.337" v="178" actId="313"/>
          <ac:spMkLst>
            <pc:docMk/>
            <pc:sldMk cId="3225025497" sldId="271"/>
            <ac:spMk id="8" creationId="{74A10508-4726-11E0-EE8A-048130E33896}"/>
          </ac:spMkLst>
        </pc:spChg>
        <pc:spChg chg="mod">
          <ac:chgData name="Samuel Rintamäki" userId="629c6419-5b68-4ba7-a2c4-1e58a48069f7" providerId="ADAL" clId="{864ACD51-2E2E-4C8B-94C0-9B62A4A2CE63}" dt="2024-10-02T11:52:57.408" v="179" actId="1036"/>
          <ac:spMkLst>
            <pc:docMk/>
            <pc:sldMk cId="3225025497" sldId="271"/>
            <ac:spMk id="12" creationId="{54676348-D246-26BF-47A7-28A42A166B97}"/>
          </ac:spMkLst>
        </pc:spChg>
      </pc:sldChg>
      <pc:sldChg chg="delSp modSp mod">
        <pc:chgData name="Samuel Rintamäki" userId="629c6419-5b68-4ba7-a2c4-1e58a48069f7" providerId="ADAL" clId="{864ACD51-2E2E-4C8B-94C0-9B62A4A2CE63}" dt="2024-10-02T11:54:40.341" v="325" actId="20577"/>
        <pc:sldMkLst>
          <pc:docMk/>
          <pc:sldMk cId="2009147110" sldId="272"/>
        </pc:sldMkLst>
        <pc:spChg chg="mod">
          <ac:chgData name="Samuel Rintamäki" userId="629c6419-5b68-4ba7-a2c4-1e58a48069f7" providerId="ADAL" clId="{864ACD51-2E2E-4C8B-94C0-9B62A4A2CE63}" dt="2024-10-02T11:54:21.813" v="301" actId="20577"/>
          <ac:spMkLst>
            <pc:docMk/>
            <pc:sldMk cId="2009147110" sldId="272"/>
            <ac:spMk id="8" creationId="{74A10508-4726-11E0-EE8A-048130E33896}"/>
          </ac:spMkLst>
        </pc:spChg>
        <pc:spChg chg="mod">
          <ac:chgData name="Samuel Rintamäki" userId="629c6419-5b68-4ba7-a2c4-1e58a48069f7" providerId="ADAL" clId="{864ACD51-2E2E-4C8B-94C0-9B62A4A2CE63}" dt="2024-10-02T11:54:40.341" v="325" actId="20577"/>
          <ac:spMkLst>
            <pc:docMk/>
            <pc:sldMk cId="2009147110" sldId="272"/>
            <ac:spMk id="12" creationId="{54676348-D246-26BF-47A7-28A42A166B97}"/>
          </ac:spMkLst>
        </pc:spChg>
        <pc:spChg chg="del">
          <ac:chgData name="Samuel Rintamäki" userId="629c6419-5b68-4ba7-a2c4-1e58a48069f7" providerId="ADAL" clId="{864ACD51-2E2E-4C8B-94C0-9B62A4A2CE63}" dt="2024-10-02T11:53:02.899" v="180" actId="478"/>
          <ac:spMkLst>
            <pc:docMk/>
            <pc:sldMk cId="2009147110" sldId="272"/>
            <ac:spMk id="13" creationId="{F4F847B0-BF28-D067-899C-AE3D483326C8}"/>
          </ac:spMkLst>
        </pc:spChg>
      </pc:sldChg>
    </pc:docChg>
  </pc:docChgLst>
  <pc:docChgLst>
    <pc:chgData name="Sami Ruotsalainen" userId="ca7d0a82-bb72-4b23-ae21-867fa9b9b13f" providerId="ADAL" clId="{F5C18B79-145A-42E3-8C4C-CEB2056877C6}"/>
    <pc:docChg chg="undo custSel addSld delSld modSld">
      <pc:chgData name="Sami Ruotsalainen" userId="ca7d0a82-bb72-4b23-ae21-867fa9b9b13f" providerId="ADAL" clId="{F5C18B79-145A-42E3-8C4C-CEB2056877C6}" dt="2024-08-26T05:50:17.541" v="1244" actId="1076"/>
      <pc:docMkLst>
        <pc:docMk/>
      </pc:docMkLst>
      <pc:sldChg chg="modSp mod">
        <pc:chgData name="Sami Ruotsalainen" userId="ca7d0a82-bb72-4b23-ae21-867fa9b9b13f" providerId="ADAL" clId="{F5C18B79-145A-42E3-8C4C-CEB2056877C6}" dt="2024-08-14T11:03:28.954" v="67" actId="6549"/>
        <pc:sldMkLst>
          <pc:docMk/>
          <pc:sldMk cId="2097100668" sldId="257"/>
        </pc:sldMkLst>
        <pc:spChg chg="mod">
          <ac:chgData name="Sami Ruotsalainen" userId="ca7d0a82-bb72-4b23-ae21-867fa9b9b13f" providerId="ADAL" clId="{F5C18B79-145A-42E3-8C4C-CEB2056877C6}" dt="2024-08-14T11:03:28.954" v="67" actId="6549"/>
          <ac:spMkLst>
            <pc:docMk/>
            <pc:sldMk cId="2097100668" sldId="257"/>
            <ac:spMk id="2" creationId="{ADCC2D2E-64CC-2DB4-5BC9-F6CA637A1627}"/>
          </ac:spMkLst>
        </pc:spChg>
        <pc:spChg chg="mod">
          <ac:chgData name="Sami Ruotsalainen" userId="ca7d0a82-bb72-4b23-ae21-867fa9b9b13f" providerId="ADAL" clId="{F5C18B79-145A-42E3-8C4C-CEB2056877C6}" dt="2024-08-14T11:03:18.043" v="7" actId="20577"/>
          <ac:spMkLst>
            <pc:docMk/>
            <pc:sldMk cId="2097100668" sldId="257"/>
            <ac:spMk id="7" creationId="{C9B2A790-6264-EAE7-02ED-9CF4A7B800C9}"/>
          </ac:spMkLst>
        </pc:spChg>
      </pc:sldChg>
      <pc:sldChg chg="delSp modSp mod">
        <pc:chgData name="Sami Ruotsalainen" userId="ca7d0a82-bb72-4b23-ae21-867fa9b9b13f" providerId="ADAL" clId="{F5C18B79-145A-42E3-8C4C-CEB2056877C6}" dt="2024-08-14T11:06:50.673" v="361" actId="1076"/>
        <pc:sldMkLst>
          <pc:docMk/>
          <pc:sldMk cId="4013679906" sldId="258"/>
        </pc:sldMkLst>
        <pc:spChg chg="mod">
          <ac:chgData name="Sami Ruotsalainen" userId="ca7d0a82-bb72-4b23-ae21-867fa9b9b13f" providerId="ADAL" clId="{F5C18B79-145A-42E3-8C4C-CEB2056877C6}" dt="2024-08-14T11:05:55.107" v="351" actId="20577"/>
          <ac:spMkLst>
            <pc:docMk/>
            <pc:sldMk cId="4013679906" sldId="258"/>
            <ac:spMk id="9" creationId="{420DC083-9514-CEF5-B621-1BD673C60CE9}"/>
          </ac:spMkLst>
        </pc:spChg>
        <pc:spChg chg="mod">
          <ac:chgData name="Sami Ruotsalainen" userId="ca7d0a82-bb72-4b23-ae21-867fa9b9b13f" providerId="ADAL" clId="{F5C18B79-145A-42E3-8C4C-CEB2056877C6}" dt="2024-08-14T11:06:11.701" v="355" actId="20577"/>
          <ac:spMkLst>
            <pc:docMk/>
            <pc:sldMk cId="4013679906" sldId="258"/>
            <ac:spMk id="12" creationId="{5772EF0F-2503-AE56-699D-0BF1F71C2AB7}"/>
          </ac:spMkLst>
        </pc:spChg>
        <pc:spChg chg="mod">
          <ac:chgData name="Sami Ruotsalainen" userId="ca7d0a82-bb72-4b23-ae21-867fa9b9b13f" providerId="ADAL" clId="{F5C18B79-145A-42E3-8C4C-CEB2056877C6}" dt="2024-08-14T11:06:13.460" v="356" actId="20577"/>
          <ac:spMkLst>
            <pc:docMk/>
            <pc:sldMk cId="4013679906" sldId="258"/>
            <ac:spMk id="13" creationId="{67310C7A-49BD-3078-D6AC-99068D7E3E3E}"/>
          </ac:spMkLst>
        </pc:spChg>
        <pc:spChg chg="mod">
          <ac:chgData name="Sami Ruotsalainen" userId="ca7d0a82-bb72-4b23-ae21-867fa9b9b13f" providerId="ADAL" clId="{F5C18B79-145A-42E3-8C4C-CEB2056877C6}" dt="2024-08-14T11:06:50.673" v="361" actId="1076"/>
          <ac:spMkLst>
            <pc:docMk/>
            <pc:sldMk cId="4013679906" sldId="258"/>
            <ac:spMk id="18" creationId="{8CC49662-54F6-4FB1-6B2D-68D597DF8542}"/>
          </ac:spMkLst>
        </pc:spChg>
        <pc:spChg chg="mod">
          <ac:chgData name="Sami Ruotsalainen" userId="ca7d0a82-bb72-4b23-ae21-867fa9b9b13f" providerId="ADAL" clId="{F5C18B79-145A-42E3-8C4C-CEB2056877C6}" dt="2024-08-14T11:06:50.673" v="361" actId="1076"/>
          <ac:spMkLst>
            <pc:docMk/>
            <pc:sldMk cId="4013679906" sldId="258"/>
            <ac:spMk id="19" creationId="{F9FCFCFC-4571-A292-D939-4732AAFFF044}"/>
          </ac:spMkLst>
        </pc:spChg>
        <pc:spChg chg="del">
          <ac:chgData name="Sami Ruotsalainen" userId="ca7d0a82-bb72-4b23-ae21-867fa9b9b13f" providerId="ADAL" clId="{F5C18B79-145A-42E3-8C4C-CEB2056877C6}" dt="2024-08-14T11:06:27.685" v="359" actId="478"/>
          <ac:spMkLst>
            <pc:docMk/>
            <pc:sldMk cId="4013679906" sldId="258"/>
            <ac:spMk id="20" creationId="{D94FDC5C-547E-BB7A-E28A-23EDF8AEF2BA}"/>
          </ac:spMkLst>
        </pc:spChg>
        <pc:spChg chg="mod">
          <ac:chgData name="Sami Ruotsalainen" userId="ca7d0a82-bb72-4b23-ae21-867fa9b9b13f" providerId="ADAL" clId="{F5C18B79-145A-42E3-8C4C-CEB2056877C6}" dt="2024-08-14T11:06:07.816" v="354" actId="20577"/>
          <ac:spMkLst>
            <pc:docMk/>
            <pc:sldMk cId="4013679906" sldId="258"/>
            <ac:spMk id="21" creationId="{A7505524-B65A-EB95-0421-6DF7803670AF}"/>
          </ac:spMkLst>
        </pc:spChg>
      </pc:sldChg>
      <pc:sldChg chg="addSp modSp mod">
        <pc:chgData name="Sami Ruotsalainen" userId="ca7d0a82-bb72-4b23-ae21-867fa9b9b13f" providerId="ADAL" clId="{F5C18B79-145A-42E3-8C4C-CEB2056877C6}" dt="2024-08-14T11:12:35.547" v="553" actId="20577"/>
        <pc:sldMkLst>
          <pc:docMk/>
          <pc:sldMk cId="2233989291" sldId="260"/>
        </pc:sldMkLst>
        <pc:spChg chg="add mod">
          <ac:chgData name="Sami Ruotsalainen" userId="ca7d0a82-bb72-4b23-ae21-867fa9b9b13f" providerId="ADAL" clId="{F5C18B79-145A-42E3-8C4C-CEB2056877C6}" dt="2024-08-14T11:12:35.547" v="553" actId="20577"/>
          <ac:spMkLst>
            <pc:docMk/>
            <pc:sldMk cId="2233989291" sldId="260"/>
            <ac:spMk id="6" creationId="{3ADE2630-1063-01C1-5FFF-FA6577FE1FCD}"/>
          </ac:spMkLst>
        </pc:spChg>
        <pc:spChg chg="mod">
          <ac:chgData name="Sami Ruotsalainen" userId="ca7d0a82-bb72-4b23-ae21-867fa9b9b13f" providerId="ADAL" clId="{F5C18B79-145A-42E3-8C4C-CEB2056877C6}" dt="2024-08-14T11:08:02.124" v="477" actId="20577"/>
          <ac:spMkLst>
            <pc:docMk/>
            <pc:sldMk cId="2233989291" sldId="260"/>
            <ac:spMk id="7" creationId="{E3B8DE36-D74A-7B85-58B6-DE4BC02A1B26}"/>
          </ac:spMkLst>
        </pc:spChg>
      </pc:sldChg>
      <pc:sldChg chg="addSp modSp mod">
        <pc:chgData name="Sami Ruotsalainen" userId="ca7d0a82-bb72-4b23-ae21-867fa9b9b13f" providerId="ADAL" clId="{F5C18B79-145A-42E3-8C4C-CEB2056877C6}" dt="2024-08-14T11:15:01.551" v="675" actId="6549"/>
        <pc:sldMkLst>
          <pc:docMk/>
          <pc:sldMk cId="2450032615" sldId="262"/>
        </pc:sldMkLst>
        <pc:spChg chg="mod">
          <ac:chgData name="Sami Ruotsalainen" userId="ca7d0a82-bb72-4b23-ae21-867fa9b9b13f" providerId="ADAL" clId="{F5C18B79-145A-42E3-8C4C-CEB2056877C6}" dt="2024-08-14T11:08:40.983" v="483"/>
          <ac:spMkLst>
            <pc:docMk/>
            <pc:sldMk cId="2450032615" sldId="262"/>
            <ac:spMk id="2" creationId="{69AA4161-629E-449D-D8A4-84DE2840684E}"/>
          </ac:spMkLst>
        </pc:spChg>
        <pc:spChg chg="add mod">
          <ac:chgData name="Sami Ruotsalainen" userId="ca7d0a82-bb72-4b23-ae21-867fa9b9b13f" providerId="ADAL" clId="{F5C18B79-145A-42E3-8C4C-CEB2056877C6}" dt="2024-08-14T11:15:01.551" v="675" actId="6549"/>
          <ac:spMkLst>
            <pc:docMk/>
            <pc:sldMk cId="2450032615" sldId="262"/>
            <ac:spMk id="6" creationId="{DE7013F4-71B8-C3EB-E4DA-10EA1825D791}"/>
          </ac:spMkLst>
        </pc:spChg>
        <pc:spChg chg="mod">
          <ac:chgData name="Sami Ruotsalainen" userId="ca7d0a82-bb72-4b23-ae21-867fa9b9b13f" providerId="ADAL" clId="{F5C18B79-145A-42E3-8C4C-CEB2056877C6}" dt="2024-08-14T11:08:44.272" v="484" actId="20577"/>
          <ac:spMkLst>
            <pc:docMk/>
            <pc:sldMk cId="2450032615" sldId="262"/>
            <ac:spMk id="7" creationId="{E3B8DE36-D74A-7B85-58B6-DE4BC02A1B26}"/>
          </ac:spMkLst>
        </pc:spChg>
      </pc:sldChg>
      <pc:sldChg chg="addSp modSp mod">
        <pc:chgData name="Sami Ruotsalainen" userId="ca7d0a82-bb72-4b23-ae21-867fa9b9b13f" providerId="ADAL" clId="{F5C18B79-145A-42E3-8C4C-CEB2056877C6}" dt="2024-08-14T11:17:11.079" v="824" actId="20577"/>
        <pc:sldMkLst>
          <pc:docMk/>
          <pc:sldMk cId="1837177247" sldId="263"/>
        </pc:sldMkLst>
        <pc:spChg chg="mod">
          <ac:chgData name="Sami Ruotsalainen" userId="ca7d0a82-bb72-4b23-ae21-867fa9b9b13f" providerId="ADAL" clId="{F5C18B79-145A-42E3-8C4C-CEB2056877C6}" dt="2024-08-14T11:09:26.672" v="491" actId="14100"/>
          <ac:spMkLst>
            <pc:docMk/>
            <pc:sldMk cId="1837177247" sldId="263"/>
            <ac:spMk id="2" creationId="{69AA4161-629E-449D-D8A4-84DE2840684E}"/>
          </ac:spMkLst>
        </pc:spChg>
        <pc:spChg chg="add mod">
          <ac:chgData name="Sami Ruotsalainen" userId="ca7d0a82-bb72-4b23-ae21-867fa9b9b13f" providerId="ADAL" clId="{F5C18B79-145A-42E3-8C4C-CEB2056877C6}" dt="2024-08-14T11:17:11.079" v="824" actId="20577"/>
          <ac:spMkLst>
            <pc:docMk/>
            <pc:sldMk cId="1837177247" sldId="263"/>
            <ac:spMk id="6" creationId="{2254354F-1C74-AA87-A73C-B2163B3E78CF}"/>
          </ac:spMkLst>
        </pc:spChg>
        <pc:spChg chg="mod">
          <ac:chgData name="Sami Ruotsalainen" userId="ca7d0a82-bb72-4b23-ae21-867fa9b9b13f" providerId="ADAL" clId="{F5C18B79-145A-42E3-8C4C-CEB2056877C6}" dt="2024-08-14T11:08:59.240" v="485" actId="20577"/>
          <ac:spMkLst>
            <pc:docMk/>
            <pc:sldMk cId="1837177247" sldId="263"/>
            <ac:spMk id="7" creationId="{E3B8DE36-D74A-7B85-58B6-DE4BC02A1B26}"/>
          </ac:spMkLst>
        </pc:spChg>
      </pc:sldChg>
      <pc:sldChg chg="addSp modSp mod modShow">
        <pc:chgData name="Sami Ruotsalainen" userId="ca7d0a82-bb72-4b23-ae21-867fa9b9b13f" providerId="ADAL" clId="{F5C18B79-145A-42E3-8C4C-CEB2056877C6}" dt="2024-08-14T11:10:05.472" v="506" actId="403"/>
        <pc:sldMkLst>
          <pc:docMk/>
          <pc:sldMk cId="2847776544" sldId="264"/>
        </pc:sldMkLst>
        <pc:spChg chg="add mod">
          <ac:chgData name="Sami Ruotsalainen" userId="ca7d0a82-bb72-4b23-ae21-867fa9b9b13f" providerId="ADAL" clId="{F5C18B79-145A-42E3-8C4C-CEB2056877C6}" dt="2024-08-14T11:10:05.472" v="506" actId="403"/>
          <ac:spMkLst>
            <pc:docMk/>
            <pc:sldMk cId="2847776544" sldId="264"/>
            <ac:spMk id="8" creationId="{BF96C52A-C213-79E1-C8C2-A60E8AEDA5D4}"/>
          </ac:spMkLst>
        </pc:spChg>
      </pc:sldChg>
      <pc:sldChg chg="addSp modSp mod modShow">
        <pc:chgData name="Sami Ruotsalainen" userId="ca7d0a82-bb72-4b23-ae21-867fa9b9b13f" providerId="ADAL" clId="{F5C18B79-145A-42E3-8C4C-CEB2056877C6}" dt="2024-08-14T11:10:15.715" v="512"/>
        <pc:sldMkLst>
          <pc:docMk/>
          <pc:sldMk cId="1394877778" sldId="265"/>
        </pc:sldMkLst>
        <pc:spChg chg="add mod">
          <ac:chgData name="Sami Ruotsalainen" userId="ca7d0a82-bb72-4b23-ae21-867fa9b9b13f" providerId="ADAL" clId="{F5C18B79-145A-42E3-8C4C-CEB2056877C6}" dt="2024-08-14T11:10:15.715" v="512"/>
          <ac:spMkLst>
            <pc:docMk/>
            <pc:sldMk cId="1394877778" sldId="265"/>
            <ac:spMk id="8" creationId="{7BD9D3E9-C5CC-1A24-B331-86358FF9576C}"/>
          </ac:spMkLst>
        </pc:spChg>
      </pc:sldChg>
      <pc:sldChg chg="addSp modSp mod">
        <pc:chgData name="Sami Ruotsalainen" userId="ca7d0a82-bb72-4b23-ae21-867fa9b9b13f" providerId="ADAL" clId="{F5C18B79-145A-42E3-8C4C-CEB2056877C6}" dt="2024-08-14T11:12:40.519" v="558" actId="6549"/>
        <pc:sldMkLst>
          <pc:docMk/>
          <pc:sldMk cId="3681436765" sldId="267"/>
        </pc:sldMkLst>
        <pc:spChg chg="add mod">
          <ac:chgData name="Sami Ruotsalainen" userId="ca7d0a82-bb72-4b23-ae21-867fa9b9b13f" providerId="ADAL" clId="{F5C18B79-145A-42E3-8C4C-CEB2056877C6}" dt="2024-08-14T11:12:40.519" v="558" actId="6549"/>
          <ac:spMkLst>
            <pc:docMk/>
            <pc:sldMk cId="3681436765" sldId="267"/>
            <ac:spMk id="16" creationId="{D45A38E9-B146-EEA5-99CF-4BD6F608454C}"/>
          </ac:spMkLst>
        </pc:spChg>
      </pc:sldChg>
      <pc:sldChg chg="addSp modSp">
        <pc:chgData name="Sami Ruotsalainen" userId="ca7d0a82-bb72-4b23-ae21-867fa9b9b13f" providerId="ADAL" clId="{F5C18B79-145A-42E3-8C4C-CEB2056877C6}" dt="2024-08-14T11:12:44.885" v="559"/>
        <pc:sldMkLst>
          <pc:docMk/>
          <pc:sldMk cId="956414826" sldId="268"/>
        </pc:sldMkLst>
        <pc:spChg chg="add mod">
          <ac:chgData name="Sami Ruotsalainen" userId="ca7d0a82-bb72-4b23-ae21-867fa9b9b13f" providerId="ADAL" clId="{F5C18B79-145A-42E3-8C4C-CEB2056877C6}" dt="2024-08-14T11:12:44.885" v="559"/>
          <ac:spMkLst>
            <pc:docMk/>
            <pc:sldMk cId="956414826" sldId="268"/>
            <ac:spMk id="10" creationId="{78AD6F1A-23F5-D053-72F3-2115088CCD5B}"/>
          </ac:spMkLst>
        </pc:spChg>
      </pc:sldChg>
      <pc:sldChg chg="addSp modSp">
        <pc:chgData name="Sami Ruotsalainen" userId="ca7d0a82-bb72-4b23-ae21-867fa9b9b13f" providerId="ADAL" clId="{F5C18B79-145A-42E3-8C4C-CEB2056877C6}" dt="2024-08-14T11:12:47.123" v="561"/>
        <pc:sldMkLst>
          <pc:docMk/>
          <pc:sldMk cId="2160911306" sldId="269"/>
        </pc:sldMkLst>
        <pc:spChg chg="add mod">
          <ac:chgData name="Sami Ruotsalainen" userId="ca7d0a82-bb72-4b23-ae21-867fa9b9b13f" providerId="ADAL" clId="{F5C18B79-145A-42E3-8C4C-CEB2056877C6}" dt="2024-08-14T11:12:47.123" v="561"/>
          <ac:spMkLst>
            <pc:docMk/>
            <pc:sldMk cId="2160911306" sldId="269"/>
            <ac:spMk id="10" creationId="{99031F1C-8887-78F5-D25C-4DB1090C6E8A}"/>
          </ac:spMkLst>
        </pc:spChg>
      </pc:sldChg>
      <pc:sldChg chg="addSp modSp">
        <pc:chgData name="Sami Ruotsalainen" userId="ca7d0a82-bb72-4b23-ae21-867fa9b9b13f" providerId="ADAL" clId="{F5C18B79-145A-42E3-8C4C-CEB2056877C6}" dt="2024-08-14T11:12:45.919" v="560"/>
        <pc:sldMkLst>
          <pc:docMk/>
          <pc:sldMk cId="959288810" sldId="270"/>
        </pc:sldMkLst>
        <pc:spChg chg="add mod">
          <ac:chgData name="Sami Ruotsalainen" userId="ca7d0a82-bb72-4b23-ae21-867fa9b9b13f" providerId="ADAL" clId="{F5C18B79-145A-42E3-8C4C-CEB2056877C6}" dt="2024-08-14T11:12:45.919" v="560"/>
          <ac:spMkLst>
            <pc:docMk/>
            <pc:sldMk cId="959288810" sldId="270"/>
            <ac:spMk id="7" creationId="{F84E211F-67C4-5362-BE38-94FF0DAC70E5}"/>
          </ac:spMkLst>
        </pc:spChg>
      </pc:sldChg>
      <pc:sldChg chg="addSp modSp">
        <pc:chgData name="Sami Ruotsalainen" userId="ca7d0a82-bb72-4b23-ae21-867fa9b9b13f" providerId="ADAL" clId="{F5C18B79-145A-42E3-8C4C-CEB2056877C6}" dt="2024-08-14T11:12:48.442" v="562"/>
        <pc:sldMkLst>
          <pc:docMk/>
          <pc:sldMk cId="3225025497" sldId="271"/>
        </pc:sldMkLst>
        <pc:spChg chg="add mod">
          <ac:chgData name="Sami Ruotsalainen" userId="ca7d0a82-bb72-4b23-ae21-867fa9b9b13f" providerId="ADAL" clId="{F5C18B79-145A-42E3-8C4C-CEB2056877C6}" dt="2024-08-14T11:12:48.442" v="562"/>
          <ac:spMkLst>
            <pc:docMk/>
            <pc:sldMk cId="3225025497" sldId="271"/>
            <ac:spMk id="10" creationId="{3C27E449-B4DE-837C-3109-2C0D91B7ECD7}"/>
          </ac:spMkLst>
        </pc:spChg>
      </pc:sldChg>
      <pc:sldChg chg="addSp modSp">
        <pc:chgData name="Sami Ruotsalainen" userId="ca7d0a82-bb72-4b23-ae21-867fa9b9b13f" providerId="ADAL" clId="{F5C18B79-145A-42E3-8C4C-CEB2056877C6}" dt="2024-08-14T11:12:49.677" v="563"/>
        <pc:sldMkLst>
          <pc:docMk/>
          <pc:sldMk cId="2009147110" sldId="272"/>
        </pc:sldMkLst>
        <pc:spChg chg="add mod">
          <ac:chgData name="Sami Ruotsalainen" userId="ca7d0a82-bb72-4b23-ae21-867fa9b9b13f" providerId="ADAL" clId="{F5C18B79-145A-42E3-8C4C-CEB2056877C6}" dt="2024-08-14T11:12:49.677" v="563"/>
          <ac:spMkLst>
            <pc:docMk/>
            <pc:sldMk cId="2009147110" sldId="272"/>
            <ac:spMk id="13" creationId="{F4F847B0-BF28-D067-899C-AE3D483326C8}"/>
          </ac:spMkLst>
        </pc:spChg>
      </pc:sldChg>
      <pc:sldChg chg="addSp modSp mod">
        <pc:chgData name="Sami Ruotsalainen" userId="ca7d0a82-bb72-4b23-ae21-867fa9b9b13f" providerId="ADAL" clId="{F5C18B79-145A-42E3-8C4C-CEB2056877C6}" dt="2024-08-14T11:12:58.050" v="570" actId="20577"/>
        <pc:sldMkLst>
          <pc:docMk/>
          <pc:sldMk cId="3026314242" sldId="273"/>
        </pc:sldMkLst>
        <pc:spChg chg="add mod">
          <ac:chgData name="Sami Ruotsalainen" userId="ca7d0a82-bb72-4b23-ae21-867fa9b9b13f" providerId="ADAL" clId="{F5C18B79-145A-42E3-8C4C-CEB2056877C6}" dt="2024-08-14T11:12:58.050" v="570" actId="20577"/>
          <ac:spMkLst>
            <pc:docMk/>
            <pc:sldMk cId="3026314242" sldId="273"/>
            <ac:spMk id="10" creationId="{79958614-B3A9-4E32-677C-81F194C4F881}"/>
          </ac:spMkLst>
        </pc:spChg>
      </pc:sldChg>
      <pc:sldChg chg="addSp modSp">
        <pc:chgData name="Sami Ruotsalainen" userId="ca7d0a82-bb72-4b23-ae21-867fa9b9b13f" providerId="ADAL" clId="{F5C18B79-145A-42E3-8C4C-CEB2056877C6}" dt="2024-08-14T11:13:01.360" v="571"/>
        <pc:sldMkLst>
          <pc:docMk/>
          <pc:sldMk cId="3050542010" sldId="274"/>
        </pc:sldMkLst>
        <pc:spChg chg="add mod">
          <ac:chgData name="Sami Ruotsalainen" userId="ca7d0a82-bb72-4b23-ae21-867fa9b9b13f" providerId="ADAL" clId="{F5C18B79-145A-42E3-8C4C-CEB2056877C6}" dt="2024-08-14T11:13:01.360" v="571"/>
          <ac:spMkLst>
            <pc:docMk/>
            <pc:sldMk cId="3050542010" sldId="274"/>
            <ac:spMk id="7" creationId="{1243E313-BD7A-1459-A0C9-EA2331F95D4F}"/>
          </ac:spMkLst>
        </pc:spChg>
      </pc:sldChg>
      <pc:sldChg chg="addSp modSp mod">
        <pc:chgData name="Sami Ruotsalainen" userId="ca7d0a82-bb72-4b23-ae21-867fa9b9b13f" providerId="ADAL" clId="{F5C18B79-145A-42E3-8C4C-CEB2056877C6}" dt="2024-08-14T11:10:39.261" v="521" actId="1036"/>
        <pc:sldMkLst>
          <pc:docMk/>
          <pc:sldMk cId="1724167759" sldId="275"/>
        </pc:sldMkLst>
        <pc:spChg chg="add mod">
          <ac:chgData name="Sami Ruotsalainen" userId="ca7d0a82-bb72-4b23-ae21-867fa9b9b13f" providerId="ADAL" clId="{F5C18B79-145A-42E3-8C4C-CEB2056877C6}" dt="2024-08-14T11:10:39.261" v="521" actId="1036"/>
          <ac:spMkLst>
            <pc:docMk/>
            <pc:sldMk cId="1724167759" sldId="275"/>
            <ac:spMk id="13" creationId="{0F13CA76-C281-4628-9EE1-C74823F1FBC7}"/>
          </ac:spMkLst>
        </pc:spChg>
      </pc:sldChg>
      <pc:sldChg chg="addSp delSp modSp mod">
        <pc:chgData name="Sami Ruotsalainen" userId="ca7d0a82-bb72-4b23-ae21-867fa9b9b13f" providerId="ADAL" clId="{F5C18B79-145A-42E3-8C4C-CEB2056877C6}" dt="2024-08-20T10:26:05.704" v="1143"/>
        <pc:sldMkLst>
          <pc:docMk/>
          <pc:sldMk cId="4051174790" sldId="276"/>
        </pc:sldMkLst>
        <pc:spChg chg="mod">
          <ac:chgData name="Sami Ruotsalainen" userId="ca7d0a82-bb72-4b23-ae21-867fa9b9b13f" providerId="ADAL" clId="{F5C18B79-145A-42E3-8C4C-CEB2056877C6}" dt="2024-08-20T10:25:25.367" v="1140" actId="20577"/>
          <ac:spMkLst>
            <pc:docMk/>
            <pc:sldMk cId="4051174790" sldId="276"/>
            <ac:spMk id="6" creationId="{106BEC6E-B1D1-A5F2-450D-C10F7052BD6F}"/>
          </ac:spMkLst>
        </pc:spChg>
        <pc:spChg chg="add del mod">
          <ac:chgData name="Sami Ruotsalainen" userId="ca7d0a82-bb72-4b23-ae21-867fa9b9b13f" providerId="ADAL" clId="{F5C18B79-145A-42E3-8C4C-CEB2056877C6}" dt="2024-08-20T10:20:25.844" v="837" actId="478"/>
          <ac:spMkLst>
            <pc:docMk/>
            <pc:sldMk cId="4051174790" sldId="276"/>
            <ac:spMk id="7" creationId="{D9BDA606-4D74-6EC0-ECAF-8028D30E8561}"/>
          </ac:spMkLst>
        </pc:spChg>
        <pc:graphicFrameChg chg="add mod">
          <ac:chgData name="Sami Ruotsalainen" userId="ca7d0a82-bb72-4b23-ae21-867fa9b9b13f" providerId="ADAL" clId="{F5C18B79-145A-42E3-8C4C-CEB2056877C6}" dt="2024-08-20T10:20:15.869" v="832"/>
          <ac:graphicFrameMkLst>
            <pc:docMk/>
            <pc:sldMk cId="4051174790" sldId="276"/>
            <ac:graphicFrameMk id="8" creationId="{8CD77983-152D-C4C8-DE2C-1BA1E0FB4897}"/>
          </ac:graphicFrameMkLst>
        </pc:graphicFrameChg>
        <pc:graphicFrameChg chg="add mod">
          <ac:chgData name="Sami Ruotsalainen" userId="ca7d0a82-bb72-4b23-ae21-867fa9b9b13f" providerId="ADAL" clId="{F5C18B79-145A-42E3-8C4C-CEB2056877C6}" dt="2024-08-20T10:26:05.704" v="1143"/>
          <ac:graphicFrameMkLst>
            <pc:docMk/>
            <pc:sldMk cId="4051174790" sldId="276"/>
            <ac:graphicFrameMk id="10" creationId="{8CD77983-152D-C4C8-DE2C-1BA1E0FB4897}"/>
          </ac:graphicFrameMkLst>
        </pc:graphicFrameChg>
        <pc:graphicFrameChg chg="del">
          <ac:chgData name="Sami Ruotsalainen" userId="ca7d0a82-bb72-4b23-ae21-867fa9b9b13f" providerId="ADAL" clId="{F5C18B79-145A-42E3-8C4C-CEB2056877C6}" dt="2024-08-20T10:20:10.008" v="825" actId="478"/>
          <ac:graphicFrameMkLst>
            <pc:docMk/>
            <pc:sldMk cId="4051174790" sldId="276"/>
            <ac:graphicFrameMk id="18" creationId="{33905296-0CED-FFAE-5911-4A738000F999}"/>
          </ac:graphicFrameMkLst>
        </pc:graphicFrameChg>
      </pc:sldChg>
      <pc:sldChg chg="addSp modSp">
        <pc:chgData name="Sami Ruotsalainen" userId="ca7d0a82-bb72-4b23-ae21-867fa9b9b13f" providerId="ADAL" clId="{F5C18B79-145A-42E3-8C4C-CEB2056877C6}" dt="2024-08-14T11:13:12.510" v="577"/>
        <pc:sldMkLst>
          <pc:docMk/>
          <pc:sldMk cId="249603196" sldId="277"/>
        </pc:sldMkLst>
        <pc:spChg chg="add mod">
          <ac:chgData name="Sami Ruotsalainen" userId="ca7d0a82-bb72-4b23-ae21-867fa9b9b13f" providerId="ADAL" clId="{F5C18B79-145A-42E3-8C4C-CEB2056877C6}" dt="2024-08-14T11:13:12.510" v="577"/>
          <ac:spMkLst>
            <pc:docMk/>
            <pc:sldMk cId="249603196" sldId="277"/>
            <ac:spMk id="7" creationId="{0E70EBF5-EF6F-B4BB-25DB-836ED197743E}"/>
          </ac:spMkLst>
        </pc:spChg>
      </pc:sldChg>
      <pc:sldChg chg="modSp mod">
        <pc:chgData name="Sami Ruotsalainen" userId="ca7d0a82-bb72-4b23-ae21-867fa9b9b13f" providerId="ADAL" clId="{F5C18B79-145A-42E3-8C4C-CEB2056877C6}" dt="2024-08-14T11:08:13.315" v="478" actId="20577"/>
        <pc:sldMkLst>
          <pc:docMk/>
          <pc:sldMk cId="4009307223" sldId="281"/>
        </pc:sldMkLst>
        <pc:spChg chg="mod">
          <ac:chgData name="Sami Ruotsalainen" userId="ca7d0a82-bb72-4b23-ae21-867fa9b9b13f" providerId="ADAL" clId="{F5C18B79-145A-42E3-8C4C-CEB2056877C6}" dt="2024-08-14T11:08:13.315" v="478" actId="20577"/>
          <ac:spMkLst>
            <pc:docMk/>
            <pc:sldMk cId="4009307223" sldId="281"/>
            <ac:spMk id="7" creationId="{E3B8DE36-D74A-7B85-58B6-DE4BC02A1B26}"/>
          </ac:spMkLst>
        </pc:spChg>
      </pc:sldChg>
      <pc:sldChg chg="addSp delSp modSp mod">
        <pc:chgData name="Sami Ruotsalainen" userId="ca7d0a82-bb72-4b23-ae21-867fa9b9b13f" providerId="ADAL" clId="{F5C18B79-145A-42E3-8C4C-CEB2056877C6}" dt="2024-08-26T05:50:17.541" v="1244" actId="1076"/>
        <pc:sldMkLst>
          <pc:docMk/>
          <pc:sldMk cId="1055826744" sldId="282"/>
        </pc:sldMkLst>
        <pc:spChg chg="add mod">
          <ac:chgData name="Sami Ruotsalainen" userId="ca7d0a82-bb72-4b23-ae21-867fa9b9b13f" providerId="ADAL" clId="{F5C18B79-145A-42E3-8C4C-CEB2056877C6}" dt="2024-08-26T05:50:17.541" v="1244" actId="1076"/>
          <ac:spMkLst>
            <pc:docMk/>
            <pc:sldMk cId="1055826744" sldId="282"/>
            <ac:spMk id="6" creationId="{837B3FA3-40F3-EF32-219B-20BF8E059852}"/>
          </ac:spMkLst>
        </pc:spChg>
        <pc:graphicFrameChg chg="add mod">
          <ac:chgData name="Sami Ruotsalainen" userId="ca7d0a82-bb72-4b23-ae21-867fa9b9b13f" providerId="ADAL" clId="{F5C18B79-145A-42E3-8C4C-CEB2056877C6}" dt="2024-08-20T10:43:38.842" v="1190"/>
          <ac:graphicFrameMkLst>
            <pc:docMk/>
            <pc:sldMk cId="1055826744" sldId="282"/>
            <ac:graphicFrameMk id="8" creationId="{EE919C2B-65A6-C633-2FA3-70D8031F429D}"/>
          </ac:graphicFrameMkLst>
        </pc:graphicFrameChg>
        <pc:graphicFrameChg chg="add mod">
          <ac:chgData name="Sami Ruotsalainen" userId="ca7d0a82-bb72-4b23-ae21-867fa9b9b13f" providerId="ADAL" clId="{F5C18B79-145A-42E3-8C4C-CEB2056877C6}" dt="2024-08-20T10:44:38.924" v="1206" actId="404"/>
          <ac:graphicFrameMkLst>
            <pc:docMk/>
            <pc:sldMk cId="1055826744" sldId="282"/>
            <ac:graphicFrameMk id="10" creationId="{EE919C2B-65A6-C633-2FA3-70D8031F429D}"/>
          </ac:graphicFrameMkLst>
        </pc:graphicFrameChg>
        <pc:graphicFrameChg chg="del mod">
          <ac:chgData name="Sami Ruotsalainen" userId="ca7d0a82-bb72-4b23-ae21-867fa9b9b13f" providerId="ADAL" clId="{F5C18B79-145A-42E3-8C4C-CEB2056877C6}" dt="2024-08-20T10:44:11.491" v="1200" actId="478"/>
          <ac:graphicFrameMkLst>
            <pc:docMk/>
            <pc:sldMk cId="1055826744" sldId="282"/>
            <ac:graphicFrameMk id="18" creationId="{7406695F-FCBB-EC3B-0240-99E807DF610C}"/>
          </ac:graphicFrameMkLst>
        </pc:graphicFrameChg>
      </pc:sldChg>
      <pc:sldChg chg="addSp modSp mod">
        <pc:chgData name="Sami Ruotsalainen" userId="ca7d0a82-bb72-4b23-ae21-867fa9b9b13f" providerId="ADAL" clId="{F5C18B79-145A-42E3-8C4C-CEB2056877C6}" dt="2024-08-14T11:13:46.013" v="609" actId="6549"/>
        <pc:sldMkLst>
          <pc:docMk/>
          <pc:sldMk cId="3317453972" sldId="283"/>
        </pc:sldMkLst>
        <pc:spChg chg="add mod">
          <ac:chgData name="Sami Ruotsalainen" userId="ca7d0a82-bb72-4b23-ae21-867fa9b9b13f" providerId="ADAL" clId="{F5C18B79-145A-42E3-8C4C-CEB2056877C6}" dt="2024-08-14T11:13:46.013" v="609" actId="6549"/>
          <ac:spMkLst>
            <pc:docMk/>
            <pc:sldMk cId="3317453972" sldId="283"/>
            <ac:spMk id="6" creationId="{014D829E-4830-E1A8-0A42-B53715472C6D}"/>
          </ac:spMkLst>
        </pc:spChg>
      </pc:sldChg>
      <pc:sldChg chg="addSp modSp">
        <pc:chgData name="Sami Ruotsalainen" userId="ca7d0a82-bb72-4b23-ae21-867fa9b9b13f" providerId="ADAL" clId="{F5C18B79-145A-42E3-8C4C-CEB2056877C6}" dt="2024-08-14T11:10:53.212" v="522"/>
        <pc:sldMkLst>
          <pc:docMk/>
          <pc:sldMk cId="1421190833" sldId="284"/>
        </pc:sldMkLst>
        <pc:spChg chg="add mod">
          <ac:chgData name="Sami Ruotsalainen" userId="ca7d0a82-bb72-4b23-ae21-867fa9b9b13f" providerId="ADAL" clId="{F5C18B79-145A-42E3-8C4C-CEB2056877C6}" dt="2024-08-14T11:10:53.212" v="522"/>
          <ac:spMkLst>
            <pc:docMk/>
            <pc:sldMk cId="1421190833" sldId="284"/>
            <ac:spMk id="10" creationId="{AD55E47D-31E0-379D-05AD-B01560F243D9}"/>
          </ac:spMkLst>
        </pc:spChg>
      </pc:sldChg>
      <pc:sldChg chg="addSp modSp mod">
        <pc:chgData name="Sami Ruotsalainen" userId="ca7d0a82-bb72-4b23-ae21-867fa9b9b13f" providerId="ADAL" clId="{F5C18B79-145A-42E3-8C4C-CEB2056877C6}" dt="2024-08-14T11:13:52.437" v="614" actId="6549"/>
        <pc:sldMkLst>
          <pc:docMk/>
          <pc:sldMk cId="4271325521" sldId="285"/>
        </pc:sldMkLst>
        <pc:spChg chg="add mod">
          <ac:chgData name="Sami Ruotsalainen" userId="ca7d0a82-bb72-4b23-ae21-867fa9b9b13f" providerId="ADAL" clId="{F5C18B79-145A-42E3-8C4C-CEB2056877C6}" dt="2024-08-14T11:13:52.437" v="614" actId="6549"/>
          <ac:spMkLst>
            <pc:docMk/>
            <pc:sldMk cId="4271325521" sldId="285"/>
            <ac:spMk id="10" creationId="{91E0BC95-A20B-3480-DECA-8A7FDFE25849}"/>
          </ac:spMkLst>
        </pc:spChg>
      </pc:sldChg>
      <pc:sldChg chg="addSp modSp">
        <pc:chgData name="Sami Ruotsalainen" userId="ca7d0a82-bb72-4b23-ae21-867fa9b9b13f" providerId="ADAL" clId="{F5C18B79-145A-42E3-8C4C-CEB2056877C6}" dt="2024-08-14T11:10:58.828" v="523"/>
        <pc:sldMkLst>
          <pc:docMk/>
          <pc:sldMk cId="333011230" sldId="286"/>
        </pc:sldMkLst>
        <pc:spChg chg="add mod">
          <ac:chgData name="Sami Ruotsalainen" userId="ca7d0a82-bb72-4b23-ae21-867fa9b9b13f" providerId="ADAL" clId="{F5C18B79-145A-42E3-8C4C-CEB2056877C6}" dt="2024-08-14T11:10:58.828" v="523"/>
          <ac:spMkLst>
            <pc:docMk/>
            <pc:sldMk cId="333011230" sldId="286"/>
            <ac:spMk id="5" creationId="{64F4CA6E-3581-C9C0-E61E-C6B795DDD411}"/>
          </ac:spMkLst>
        </pc:spChg>
      </pc:sldChg>
      <pc:sldChg chg="modSp mod">
        <pc:chgData name="Sami Ruotsalainen" userId="ca7d0a82-bb72-4b23-ae21-867fa9b9b13f" providerId="ADAL" clId="{F5C18B79-145A-42E3-8C4C-CEB2056877C6}" dt="2024-08-14T11:08:18.915" v="479" actId="20577"/>
        <pc:sldMkLst>
          <pc:docMk/>
          <pc:sldMk cId="106026904" sldId="287"/>
        </pc:sldMkLst>
        <pc:spChg chg="mod">
          <ac:chgData name="Sami Ruotsalainen" userId="ca7d0a82-bb72-4b23-ae21-867fa9b9b13f" providerId="ADAL" clId="{F5C18B79-145A-42E3-8C4C-CEB2056877C6}" dt="2024-08-14T11:08:18.915" v="479" actId="20577"/>
          <ac:spMkLst>
            <pc:docMk/>
            <pc:sldMk cId="106026904" sldId="287"/>
            <ac:spMk id="7" creationId="{E3B8DE36-D74A-7B85-58B6-DE4BC02A1B26}"/>
          </ac:spMkLst>
        </pc:spChg>
      </pc:sldChg>
      <pc:sldChg chg="addSp modSp mod">
        <pc:chgData name="Sami Ruotsalainen" userId="ca7d0a82-bb72-4b23-ae21-867fa9b9b13f" providerId="ADAL" clId="{F5C18B79-145A-42E3-8C4C-CEB2056877C6}" dt="2024-08-14T11:13:59.938" v="619" actId="6549"/>
        <pc:sldMkLst>
          <pc:docMk/>
          <pc:sldMk cId="1505532723" sldId="288"/>
        </pc:sldMkLst>
        <pc:spChg chg="add mod">
          <ac:chgData name="Sami Ruotsalainen" userId="ca7d0a82-bb72-4b23-ae21-867fa9b9b13f" providerId="ADAL" clId="{F5C18B79-145A-42E3-8C4C-CEB2056877C6}" dt="2024-08-14T11:13:59.938" v="619" actId="6549"/>
          <ac:spMkLst>
            <pc:docMk/>
            <pc:sldMk cId="1505532723" sldId="288"/>
            <ac:spMk id="8" creationId="{4AE455FF-1104-A499-EF78-C23A54854FC1}"/>
          </ac:spMkLst>
        </pc:spChg>
      </pc:sldChg>
      <pc:sldChg chg="addSp modSp mod">
        <pc:chgData name="Sami Ruotsalainen" userId="ca7d0a82-bb72-4b23-ae21-867fa9b9b13f" providerId="ADAL" clId="{F5C18B79-145A-42E3-8C4C-CEB2056877C6}" dt="2024-08-14T11:14:08.246" v="624" actId="6549"/>
        <pc:sldMkLst>
          <pc:docMk/>
          <pc:sldMk cId="3072204206" sldId="289"/>
        </pc:sldMkLst>
        <pc:spChg chg="add mod">
          <ac:chgData name="Sami Ruotsalainen" userId="ca7d0a82-bb72-4b23-ae21-867fa9b9b13f" providerId="ADAL" clId="{F5C18B79-145A-42E3-8C4C-CEB2056877C6}" dt="2024-08-14T11:14:08.246" v="624" actId="6549"/>
          <ac:spMkLst>
            <pc:docMk/>
            <pc:sldMk cId="3072204206" sldId="289"/>
            <ac:spMk id="6" creationId="{2EDD07C2-CC98-AEE3-9271-05CD730B163B}"/>
          </ac:spMkLst>
        </pc:spChg>
      </pc:sldChg>
      <pc:sldChg chg="addSp modSp mod">
        <pc:chgData name="Sami Ruotsalainen" userId="ca7d0a82-bb72-4b23-ae21-867fa9b9b13f" providerId="ADAL" clId="{F5C18B79-145A-42E3-8C4C-CEB2056877C6}" dt="2024-08-14T11:11:09.305" v="525" actId="20577"/>
        <pc:sldMkLst>
          <pc:docMk/>
          <pc:sldMk cId="67705251" sldId="290"/>
        </pc:sldMkLst>
        <pc:spChg chg="add mod">
          <ac:chgData name="Sami Ruotsalainen" userId="ca7d0a82-bb72-4b23-ae21-867fa9b9b13f" providerId="ADAL" clId="{F5C18B79-145A-42E3-8C4C-CEB2056877C6}" dt="2024-08-14T11:11:09.305" v="525" actId="20577"/>
          <ac:spMkLst>
            <pc:docMk/>
            <pc:sldMk cId="67705251" sldId="290"/>
            <ac:spMk id="6" creationId="{0898B7EE-0746-7E29-CCAA-A1177966B862}"/>
          </ac:spMkLst>
        </pc:spChg>
      </pc:sldChg>
      <pc:sldChg chg="addSp modSp">
        <pc:chgData name="Sami Ruotsalainen" userId="ca7d0a82-bb72-4b23-ae21-867fa9b9b13f" providerId="ADAL" clId="{F5C18B79-145A-42E3-8C4C-CEB2056877C6}" dt="2024-08-14T11:11:13.366" v="526"/>
        <pc:sldMkLst>
          <pc:docMk/>
          <pc:sldMk cId="912506962" sldId="291"/>
        </pc:sldMkLst>
        <pc:spChg chg="add mod">
          <ac:chgData name="Sami Ruotsalainen" userId="ca7d0a82-bb72-4b23-ae21-867fa9b9b13f" providerId="ADAL" clId="{F5C18B79-145A-42E3-8C4C-CEB2056877C6}" dt="2024-08-14T11:11:13.366" v="526"/>
          <ac:spMkLst>
            <pc:docMk/>
            <pc:sldMk cId="912506962" sldId="291"/>
            <ac:spMk id="6" creationId="{F0E7874A-17EC-D2D8-79D8-0580CDC5E74D}"/>
          </ac:spMkLst>
        </pc:spChg>
      </pc:sldChg>
      <pc:sldChg chg="addSp modSp">
        <pc:chgData name="Sami Ruotsalainen" userId="ca7d0a82-bb72-4b23-ae21-867fa9b9b13f" providerId="ADAL" clId="{F5C18B79-145A-42E3-8C4C-CEB2056877C6}" dt="2024-08-14T11:11:14.392" v="527"/>
        <pc:sldMkLst>
          <pc:docMk/>
          <pc:sldMk cId="1069711582" sldId="292"/>
        </pc:sldMkLst>
        <pc:spChg chg="add mod">
          <ac:chgData name="Sami Ruotsalainen" userId="ca7d0a82-bb72-4b23-ae21-867fa9b9b13f" providerId="ADAL" clId="{F5C18B79-145A-42E3-8C4C-CEB2056877C6}" dt="2024-08-14T11:11:14.392" v="527"/>
          <ac:spMkLst>
            <pc:docMk/>
            <pc:sldMk cId="1069711582" sldId="292"/>
            <ac:spMk id="6" creationId="{0236D0B1-E3BB-E568-7BCF-96BA1467B2DA}"/>
          </ac:spMkLst>
        </pc:spChg>
      </pc:sldChg>
      <pc:sldChg chg="addSp modSp">
        <pc:chgData name="Sami Ruotsalainen" userId="ca7d0a82-bb72-4b23-ae21-867fa9b9b13f" providerId="ADAL" clId="{F5C18B79-145A-42E3-8C4C-CEB2056877C6}" dt="2024-08-14T11:11:18.164" v="528"/>
        <pc:sldMkLst>
          <pc:docMk/>
          <pc:sldMk cId="1939660482" sldId="293"/>
        </pc:sldMkLst>
        <pc:spChg chg="add mod">
          <ac:chgData name="Sami Ruotsalainen" userId="ca7d0a82-bb72-4b23-ae21-867fa9b9b13f" providerId="ADAL" clId="{F5C18B79-145A-42E3-8C4C-CEB2056877C6}" dt="2024-08-14T11:11:18.164" v="528"/>
          <ac:spMkLst>
            <pc:docMk/>
            <pc:sldMk cId="1939660482" sldId="293"/>
            <ac:spMk id="12" creationId="{134C4FD5-D1CA-E245-5442-B8BBDFB2EA18}"/>
          </ac:spMkLst>
        </pc:spChg>
      </pc:sldChg>
      <pc:sldChg chg="addSp modSp">
        <pc:chgData name="Sami Ruotsalainen" userId="ca7d0a82-bb72-4b23-ae21-867fa9b9b13f" providerId="ADAL" clId="{F5C18B79-145A-42E3-8C4C-CEB2056877C6}" dt="2024-08-14T11:11:22.131" v="529"/>
        <pc:sldMkLst>
          <pc:docMk/>
          <pc:sldMk cId="748134519" sldId="294"/>
        </pc:sldMkLst>
        <pc:spChg chg="add mod">
          <ac:chgData name="Sami Ruotsalainen" userId="ca7d0a82-bb72-4b23-ae21-867fa9b9b13f" providerId="ADAL" clId="{F5C18B79-145A-42E3-8C4C-CEB2056877C6}" dt="2024-08-14T11:11:22.131" v="529"/>
          <ac:spMkLst>
            <pc:docMk/>
            <pc:sldMk cId="748134519" sldId="294"/>
            <ac:spMk id="12" creationId="{CE864B4F-D176-5EBB-142F-3E77CA07DAAC}"/>
          </ac:spMkLst>
        </pc:spChg>
      </pc:sldChg>
      <pc:sldChg chg="modSp mod">
        <pc:chgData name="Sami Ruotsalainen" userId="ca7d0a82-bb72-4b23-ae21-867fa9b9b13f" providerId="ADAL" clId="{F5C18B79-145A-42E3-8C4C-CEB2056877C6}" dt="2024-08-14T11:08:24.457" v="480" actId="20577"/>
        <pc:sldMkLst>
          <pc:docMk/>
          <pc:sldMk cId="3864437757" sldId="295"/>
        </pc:sldMkLst>
        <pc:spChg chg="mod">
          <ac:chgData name="Sami Ruotsalainen" userId="ca7d0a82-bb72-4b23-ae21-867fa9b9b13f" providerId="ADAL" clId="{F5C18B79-145A-42E3-8C4C-CEB2056877C6}" dt="2024-08-14T11:08:24.457" v="480" actId="20577"/>
          <ac:spMkLst>
            <pc:docMk/>
            <pc:sldMk cId="3864437757" sldId="295"/>
            <ac:spMk id="7" creationId="{E3B8DE36-D74A-7B85-58B6-DE4BC02A1B26}"/>
          </ac:spMkLst>
        </pc:spChg>
      </pc:sldChg>
      <pc:sldChg chg="addSp delSp modSp mod">
        <pc:chgData name="Sami Ruotsalainen" userId="ca7d0a82-bb72-4b23-ae21-867fa9b9b13f" providerId="ADAL" clId="{F5C18B79-145A-42E3-8C4C-CEB2056877C6}" dt="2024-08-20T11:46:10.060" v="1243" actId="404"/>
        <pc:sldMkLst>
          <pc:docMk/>
          <pc:sldMk cId="1130604480" sldId="296"/>
        </pc:sldMkLst>
        <pc:spChg chg="add mod">
          <ac:chgData name="Sami Ruotsalainen" userId="ca7d0a82-bb72-4b23-ae21-867fa9b9b13f" providerId="ADAL" clId="{F5C18B79-145A-42E3-8C4C-CEB2056877C6}" dt="2024-08-14T11:14:18.641" v="629" actId="6549"/>
          <ac:spMkLst>
            <pc:docMk/>
            <pc:sldMk cId="1130604480" sldId="296"/>
            <ac:spMk id="6" creationId="{DEB68F98-48E1-1D4A-66D4-FAD409408B7F}"/>
          </ac:spMkLst>
        </pc:spChg>
        <pc:graphicFrameChg chg="del">
          <ac:chgData name="Sami Ruotsalainen" userId="ca7d0a82-bb72-4b23-ae21-867fa9b9b13f" providerId="ADAL" clId="{F5C18B79-145A-42E3-8C4C-CEB2056877C6}" dt="2024-08-20T10:36:39.907" v="1151" actId="478"/>
          <ac:graphicFrameMkLst>
            <pc:docMk/>
            <pc:sldMk cId="1130604480" sldId="296"/>
            <ac:graphicFrameMk id="8" creationId="{D04E7EA9-4246-14AE-1CEB-87B9A9CBB515}"/>
          </ac:graphicFrameMkLst>
        </pc:graphicFrameChg>
        <pc:graphicFrameChg chg="add mod">
          <ac:chgData name="Sami Ruotsalainen" userId="ca7d0a82-bb72-4b23-ae21-867fa9b9b13f" providerId="ADAL" clId="{F5C18B79-145A-42E3-8C4C-CEB2056877C6}" dt="2024-08-20T10:35:53.604" v="1146"/>
          <ac:graphicFrameMkLst>
            <pc:docMk/>
            <pc:sldMk cId="1130604480" sldId="296"/>
            <ac:graphicFrameMk id="10" creationId="{BA9AFD32-8D2F-811A-1246-07375C674DA4}"/>
          </ac:graphicFrameMkLst>
        </pc:graphicFrameChg>
        <pc:graphicFrameChg chg="add mod">
          <ac:chgData name="Sami Ruotsalainen" userId="ca7d0a82-bb72-4b23-ae21-867fa9b9b13f" providerId="ADAL" clId="{F5C18B79-145A-42E3-8C4C-CEB2056877C6}" dt="2024-08-20T11:46:10.060" v="1243" actId="404"/>
          <ac:graphicFrameMkLst>
            <pc:docMk/>
            <pc:sldMk cId="1130604480" sldId="296"/>
            <ac:graphicFrameMk id="11" creationId="{BA9AFD32-8D2F-811A-1246-07375C674DA4}"/>
          </ac:graphicFrameMkLst>
        </pc:graphicFrameChg>
        <pc:graphicFrameChg chg="add mod">
          <ac:chgData name="Sami Ruotsalainen" userId="ca7d0a82-bb72-4b23-ae21-867fa9b9b13f" providerId="ADAL" clId="{F5C18B79-145A-42E3-8C4C-CEB2056877C6}" dt="2024-08-20T10:47:54.723" v="1211"/>
          <ac:graphicFrameMkLst>
            <pc:docMk/>
            <pc:sldMk cId="1130604480" sldId="296"/>
            <ac:graphicFrameMk id="12" creationId="{DBED24A0-DD96-E104-6749-DD046077149D}"/>
          </ac:graphicFrameMkLst>
        </pc:graphicFrameChg>
        <pc:graphicFrameChg chg="add mod">
          <ac:chgData name="Sami Ruotsalainen" userId="ca7d0a82-bb72-4b23-ae21-867fa9b9b13f" providerId="ADAL" clId="{F5C18B79-145A-42E3-8C4C-CEB2056877C6}" dt="2024-08-20T10:58:11.071" v="1241"/>
          <ac:graphicFrameMkLst>
            <pc:docMk/>
            <pc:sldMk cId="1130604480" sldId="296"/>
            <ac:graphicFrameMk id="13" creationId="{DBED24A0-DD96-E104-6749-DD046077149D}"/>
          </ac:graphicFrameMkLst>
        </pc:graphicFrameChg>
      </pc:sldChg>
      <pc:sldChg chg="addSp modSp mod">
        <pc:chgData name="Sami Ruotsalainen" userId="ca7d0a82-bb72-4b23-ae21-867fa9b9b13f" providerId="ADAL" clId="{F5C18B79-145A-42E3-8C4C-CEB2056877C6}" dt="2024-08-14T11:14:23.326" v="634" actId="6549"/>
        <pc:sldMkLst>
          <pc:docMk/>
          <pc:sldMk cId="3329688538" sldId="297"/>
        </pc:sldMkLst>
        <pc:spChg chg="add mod">
          <ac:chgData name="Sami Ruotsalainen" userId="ca7d0a82-bb72-4b23-ae21-867fa9b9b13f" providerId="ADAL" clId="{F5C18B79-145A-42E3-8C4C-CEB2056877C6}" dt="2024-08-14T11:14:23.326" v="634" actId="6549"/>
          <ac:spMkLst>
            <pc:docMk/>
            <pc:sldMk cId="3329688538" sldId="297"/>
            <ac:spMk id="7" creationId="{30A148A0-2AAF-B74B-A567-7A6FAD429ECE}"/>
          </ac:spMkLst>
        </pc:spChg>
      </pc:sldChg>
      <pc:sldChg chg="addSp modSp">
        <pc:chgData name="Sami Ruotsalainen" userId="ca7d0a82-bb72-4b23-ae21-867fa9b9b13f" providerId="ADAL" clId="{F5C18B79-145A-42E3-8C4C-CEB2056877C6}" dt="2024-08-14T11:11:38.724" v="530"/>
        <pc:sldMkLst>
          <pc:docMk/>
          <pc:sldMk cId="780793312" sldId="298"/>
        </pc:sldMkLst>
        <pc:spChg chg="add mod">
          <ac:chgData name="Sami Ruotsalainen" userId="ca7d0a82-bb72-4b23-ae21-867fa9b9b13f" providerId="ADAL" clId="{F5C18B79-145A-42E3-8C4C-CEB2056877C6}" dt="2024-08-14T11:11:38.724" v="530"/>
          <ac:spMkLst>
            <pc:docMk/>
            <pc:sldMk cId="780793312" sldId="298"/>
            <ac:spMk id="6" creationId="{CA721397-A8A1-8E48-997B-3BDD3E0902CB}"/>
          </ac:spMkLst>
        </pc:spChg>
      </pc:sldChg>
      <pc:sldChg chg="addSp modSp">
        <pc:chgData name="Sami Ruotsalainen" userId="ca7d0a82-bb72-4b23-ae21-867fa9b9b13f" providerId="ADAL" clId="{F5C18B79-145A-42E3-8C4C-CEB2056877C6}" dt="2024-08-14T11:11:39.965" v="531"/>
        <pc:sldMkLst>
          <pc:docMk/>
          <pc:sldMk cId="3365996573" sldId="299"/>
        </pc:sldMkLst>
        <pc:spChg chg="add mod">
          <ac:chgData name="Sami Ruotsalainen" userId="ca7d0a82-bb72-4b23-ae21-867fa9b9b13f" providerId="ADAL" clId="{F5C18B79-145A-42E3-8C4C-CEB2056877C6}" dt="2024-08-14T11:11:39.965" v="531"/>
          <ac:spMkLst>
            <pc:docMk/>
            <pc:sldMk cId="3365996573" sldId="299"/>
            <ac:spMk id="6" creationId="{10951190-40DC-976B-496F-A5FC6710180A}"/>
          </ac:spMkLst>
        </pc:spChg>
      </pc:sldChg>
      <pc:sldChg chg="addSp modSp">
        <pc:chgData name="Sami Ruotsalainen" userId="ca7d0a82-bb72-4b23-ae21-867fa9b9b13f" providerId="ADAL" clId="{F5C18B79-145A-42E3-8C4C-CEB2056877C6}" dt="2024-08-14T11:11:40.814" v="532"/>
        <pc:sldMkLst>
          <pc:docMk/>
          <pc:sldMk cId="273814959" sldId="300"/>
        </pc:sldMkLst>
        <pc:spChg chg="add mod">
          <ac:chgData name="Sami Ruotsalainen" userId="ca7d0a82-bb72-4b23-ae21-867fa9b9b13f" providerId="ADAL" clId="{F5C18B79-145A-42E3-8C4C-CEB2056877C6}" dt="2024-08-14T11:11:40.814" v="532"/>
          <ac:spMkLst>
            <pc:docMk/>
            <pc:sldMk cId="273814959" sldId="300"/>
            <ac:spMk id="6" creationId="{1360A88C-5E7E-6407-A5CB-AE9153741306}"/>
          </ac:spMkLst>
        </pc:spChg>
      </pc:sldChg>
      <pc:sldChg chg="addSp modSp mod modShow">
        <pc:chgData name="Sami Ruotsalainen" userId="ca7d0a82-bb72-4b23-ae21-867fa9b9b13f" providerId="ADAL" clId="{F5C18B79-145A-42E3-8C4C-CEB2056877C6}" dt="2024-08-14T11:10:10.833" v="508"/>
        <pc:sldMkLst>
          <pc:docMk/>
          <pc:sldMk cId="310301206" sldId="302"/>
        </pc:sldMkLst>
        <pc:spChg chg="add mod">
          <ac:chgData name="Sami Ruotsalainen" userId="ca7d0a82-bb72-4b23-ae21-867fa9b9b13f" providerId="ADAL" clId="{F5C18B79-145A-42E3-8C4C-CEB2056877C6}" dt="2024-08-14T11:10:10.833" v="508"/>
          <ac:spMkLst>
            <pc:docMk/>
            <pc:sldMk cId="310301206" sldId="302"/>
            <ac:spMk id="8" creationId="{42F8B979-A771-59FA-133C-380BEF8A09C1}"/>
          </ac:spMkLst>
        </pc:spChg>
      </pc:sldChg>
      <pc:sldChg chg="addSp modSp mod modShow">
        <pc:chgData name="Sami Ruotsalainen" userId="ca7d0a82-bb72-4b23-ae21-867fa9b9b13f" providerId="ADAL" clId="{F5C18B79-145A-42E3-8C4C-CEB2056877C6}" dt="2024-08-14T11:10:12.946" v="510"/>
        <pc:sldMkLst>
          <pc:docMk/>
          <pc:sldMk cId="3305647440" sldId="303"/>
        </pc:sldMkLst>
        <pc:spChg chg="add mod">
          <ac:chgData name="Sami Ruotsalainen" userId="ca7d0a82-bb72-4b23-ae21-867fa9b9b13f" providerId="ADAL" clId="{F5C18B79-145A-42E3-8C4C-CEB2056877C6}" dt="2024-08-14T11:10:12.946" v="510"/>
          <ac:spMkLst>
            <pc:docMk/>
            <pc:sldMk cId="3305647440" sldId="303"/>
            <ac:spMk id="6" creationId="{76B84A05-6B1C-05BB-4DD0-C3D3693A8AC3}"/>
          </ac:spMkLst>
        </pc:spChg>
      </pc:sldChg>
      <pc:sldChg chg="addSp modSp mod modShow">
        <pc:chgData name="Sami Ruotsalainen" userId="ca7d0a82-bb72-4b23-ae21-867fa9b9b13f" providerId="ADAL" clId="{F5C18B79-145A-42E3-8C4C-CEB2056877C6}" dt="2024-08-14T11:10:14.412" v="511"/>
        <pc:sldMkLst>
          <pc:docMk/>
          <pc:sldMk cId="3905520229" sldId="304"/>
        </pc:sldMkLst>
        <pc:spChg chg="add mod">
          <ac:chgData name="Sami Ruotsalainen" userId="ca7d0a82-bb72-4b23-ae21-867fa9b9b13f" providerId="ADAL" clId="{F5C18B79-145A-42E3-8C4C-CEB2056877C6}" dt="2024-08-14T11:10:14.412" v="511"/>
          <ac:spMkLst>
            <pc:docMk/>
            <pc:sldMk cId="3905520229" sldId="304"/>
            <ac:spMk id="6" creationId="{4C81139D-A6B2-5B6E-CD6D-C0F04BBA2C5F}"/>
          </ac:spMkLst>
        </pc:spChg>
      </pc:sldChg>
      <pc:sldChg chg="addSp modSp mod modShow">
        <pc:chgData name="Sami Ruotsalainen" userId="ca7d0a82-bb72-4b23-ae21-867fa9b9b13f" providerId="ADAL" clId="{F5C18B79-145A-42E3-8C4C-CEB2056877C6}" dt="2024-08-14T11:10:16.654" v="513"/>
        <pc:sldMkLst>
          <pc:docMk/>
          <pc:sldMk cId="3559488061" sldId="305"/>
        </pc:sldMkLst>
        <pc:spChg chg="add mod">
          <ac:chgData name="Sami Ruotsalainen" userId="ca7d0a82-bb72-4b23-ae21-867fa9b9b13f" providerId="ADAL" clId="{F5C18B79-145A-42E3-8C4C-CEB2056877C6}" dt="2024-08-14T11:10:16.654" v="513"/>
          <ac:spMkLst>
            <pc:docMk/>
            <pc:sldMk cId="3559488061" sldId="305"/>
            <ac:spMk id="10" creationId="{5F5BCFC4-6030-2822-A03E-588564188C20}"/>
          </ac:spMkLst>
        </pc:spChg>
      </pc:sldChg>
      <pc:sldChg chg="addSp modSp mod modShow">
        <pc:chgData name="Sami Ruotsalainen" userId="ca7d0a82-bb72-4b23-ae21-867fa9b9b13f" providerId="ADAL" clId="{F5C18B79-145A-42E3-8C4C-CEB2056877C6}" dt="2024-08-14T11:10:17.588" v="514"/>
        <pc:sldMkLst>
          <pc:docMk/>
          <pc:sldMk cId="4178612889" sldId="306"/>
        </pc:sldMkLst>
        <pc:spChg chg="add mod">
          <ac:chgData name="Sami Ruotsalainen" userId="ca7d0a82-bb72-4b23-ae21-867fa9b9b13f" providerId="ADAL" clId="{F5C18B79-145A-42E3-8C4C-CEB2056877C6}" dt="2024-08-14T11:10:17.588" v="514"/>
          <ac:spMkLst>
            <pc:docMk/>
            <pc:sldMk cId="4178612889" sldId="306"/>
            <ac:spMk id="8" creationId="{773AEFFD-2C63-6064-2272-D07E901FC477}"/>
          </ac:spMkLst>
        </pc:spChg>
      </pc:sldChg>
      <pc:sldChg chg="addSp modSp mod modShow">
        <pc:chgData name="Sami Ruotsalainen" userId="ca7d0a82-bb72-4b23-ae21-867fa9b9b13f" providerId="ADAL" clId="{F5C18B79-145A-42E3-8C4C-CEB2056877C6}" dt="2024-08-14T11:10:18.438" v="515"/>
        <pc:sldMkLst>
          <pc:docMk/>
          <pc:sldMk cId="2676363021" sldId="307"/>
        </pc:sldMkLst>
        <pc:spChg chg="add mod">
          <ac:chgData name="Sami Ruotsalainen" userId="ca7d0a82-bb72-4b23-ae21-867fa9b9b13f" providerId="ADAL" clId="{F5C18B79-145A-42E3-8C4C-CEB2056877C6}" dt="2024-08-14T11:10:18.438" v="515"/>
          <ac:spMkLst>
            <pc:docMk/>
            <pc:sldMk cId="2676363021" sldId="307"/>
            <ac:spMk id="10" creationId="{E6CD6CA8-889A-5640-14E8-3BB46F27C50E}"/>
          </ac:spMkLst>
        </pc:spChg>
      </pc:sldChg>
      <pc:sldChg chg="addSp modSp mod modShow">
        <pc:chgData name="Sami Ruotsalainen" userId="ca7d0a82-bb72-4b23-ae21-867fa9b9b13f" providerId="ADAL" clId="{F5C18B79-145A-42E3-8C4C-CEB2056877C6}" dt="2024-08-14T11:10:19.510" v="516"/>
        <pc:sldMkLst>
          <pc:docMk/>
          <pc:sldMk cId="172712021" sldId="308"/>
        </pc:sldMkLst>
        <pc:spChg chg="add mod">
          <ac:chgData name="Sami Ruotsalainen" userId="ca7d0a82-bb72-4b23-ae21-867fa9b9b13f" providerId="ADAL" clId="{F5C18B79-145A-42E3-8C4C-CEB2056877C6}" dt="2024-08-14T11:10:19.510" v="516"/>
          <ac:spMkLst>
            <pc:docMk/>
            <pc:sldMk cId="172712021" sldId="308"/>
            <ac:spMk id="8" creationId="{8073A2E2-031D-673D-8776-7FB141DD523A}"/>
          </ac:spMkLst>
        </pc:spChg>
      </pc:sldChg>
      <pc:sldChg chg="addSp modSp mod modShow">
        <pc:chgData name="Sami Ruotsalainen" userId="ca7d0a82-bb72-4b23-ae21-867fa9b9b13f" providerId="ADAL" clId="{F5C18B79-145A-42E3-8C4C-CEB2056877C6}" dt="2024-08-14T11:10:20.512" v="517"/>
        <pc:sldMkLst>
          <pc:docMk/>
          <pc:sldMk cId="1235343927" sldId="309"/>
        </pc:sldMkLst>
        <pc:spChg chg="add mod">
          <ac:chgData name="Sami Ruotsalainen" userId="ca7d0a82-bb72-4b23-ae21-867fa9b9b13f" providerId="ADAL" clId="{F5C18B79-145A-42E3-8C4C-CEB2056877C6}" dt="2024-08-14T11:10:20.512" v="517"/>
          <ac:spMkLst>
            <pc:docMk/>
            <pc:sldMk cId="1235343927" sldId="309"/>
            <ac:spMk id="10" creationId="{1736658B-1E34-FD6E-6A75-2B39F093DD57}"/>
          </ac:spMkLst>
        </pc:spChg>
      </pc:sldChg>
      <pc:sldChg chg="addSp modSp mod modShow">
        <pc:chgData name="Sami Ruotsalainen" userId="ca7d0a82-bb72-4b23-ae21-867fa9b9b13f" providerId="ADAL" clId="{F5C18B79-145A-42E3-8C4C-CEB2056877C6}" dt="2024-08-14T11:10:21.570" v="518"/>
        <pc:sldMkLst>
          <pc:docMk/>
          <pc:sldMk cId="4180690209" sldId="310"/>
        </pc:sldMkLst>
        <pc:spChg chg="add mod">
          <ac:chgData name="Sami Ruotsalainen" userId="ca7d0a82-bb72-4b23-ae21-867fa9b9b13f" providerId="ADAL" clId="{F5C18B79-145A-42E3-8C4C-CEB2056877C6}" dt="2024-08-14T11:10:21.570" v="518"/>
          <ac:spMkLst>
            <pc:docMk/>
            <pc:sldMk cId="4180690209" sldId="310"/>
            <ac:spMk id="7" creationId="{2153B7C0-B625-D83D-7491-1CF20D743829}"/>
          </ac:spMkLst>
        </pc:spChg>
      </pc:sldChg>
      <pc:sldChg chg="addSp modSp mod">
        <pc:chgData name="Sami Ruotsalainen" userId="ca7d0a82-bb72-4b23-ae21-867fa9b9b13f" providerId="ADAL" clId="{F5C18B79-145A-42E3-8C4C-CEB2056877C6}" dt="2024-08-14T11:14:28.711" v="639" actId="6549"/>
        <pc:sldMkLst>
          <pc:docMk/>
          <pc:sldMk cId="3325510788" sldId="311"/>
        </pc:sldMkLst>
        <pc:spChg chg="add mod">
          <ac:chgData name="Sami Ruotsalainen" userId="ca7d0a82-bb72-4b23-ae21-867fa9b9b13f" providerId="ADAL" clId="{F5C18B79-145A-42E3-8C4C-CEB2056877C6}" dt="2024-08-14T11:14:28.711" v="639" actId="6549"/>
          <ac:spMkLst>
            <pc:docMk/>
            <pc:sldMk cId="3325510788" sldId="311"/>
            <ac:spMk id="7" creationId="{AC198D42-6761-3ED7-0727-9A223F3E0C48}"/>
          </ac:spMkLst>
        </pc:spChg>
      </pc:sldChg>
      <pc:sldChg chg="addSp modSp">
        <pc:chgData name="Sami Ruotsalainen" userId="ca7d0a82-bb72-4b23-ae21-867fa9b9b13f" providerId="ADAL" clId="{F5C18B79-145A-42E3-8C4C-CEB2056877C6}" dt="2024-08-14T11:11:50.898" v="535"/>
        <pc:sldMkLst>
          <pc:docMk/>
          <pc:sldMk cId="2145202547" sldId="2149"/>
        </pc:sldMkLst>
        <pc:spChg chg="add mod">
          <ac:chgData name="Sami Ruotsalainen" userId="ca7d0a82-bb72-4b23-ae21-867fa9b9b13f" providerId="ADAL" clId="{F5C18B79-145A-42E3-8C4C-CEB2056877C6}" dt="2024-08-14T11:11:50.898" v="535"/>
          <ac:spMkLst>
            <pc:docMk/>
            <pc:sldMk cId="2145202547" sldId="2149"/>
            <ac:spMk id="12" creationId="{19272788-C76A-1A12-2B6D-4E2723C14B60}"/>
          </ac:spMkLst>
        </pc:spChg>
      </pc:sldChg>
      <pc:sldChg chg="addSp modSp">
        <pc:chgData name="Sami Ruotsalainen" userId="ca7d0a82-bb72-4b23-ae21-867fa9b9b13f" providerId="ADAL" clId="{F5C18B79-145A-42E3-8C4C-CEB2056877C6}" dt="2024-08-14T11:11:49.024" v="533"/>
        <pc:sldMkLst>
          <pc:docMk/>
          <pc:sldMk cId="337906391" sldId="2268"/>
        </pc:sldMkLst>
        <pc:spChg chg="add mod">
          <ac:chgData name="Sami Ruotsalainen" userId="ca7d0a82-bb72-4b23-ae21-867fa9b9b13f" providerId="ADAL" clId="{F5C18B79-145A-42E3-8C4C-CEB2056877C6}" dt="2024-08-14T11:11:49.024" v="533"/>
          <ac:spMkLst>
            <pc:docMk/>
            <pc:sldMk cId="337906391" sldId="2268"/>
            <ac:spMk id="7" creationId="{CBC8D199-8E8A-0E8C-D99D-4D9415076B3D}"/>
          </ac:spMkLst>
        </pc:spChg>
      </pc:sldChg>
      <pc:sldChg chg="addSp modSp">
        <pc:chgData name="Sami Ruotsalainen" userId="ca7d0a82-bb72-4b23-ae21-867fa9b9b13f" providerId="ADAL" clId="{F5C18B79-145A-42E3-8C4C-CEB2056877C6}" dt="2024-08-14T11:11:50.027" v="534"/>
        <pc:sldMkLst>
          <pc:docMk/>
          <pc:sldMk cId="4229664261" sldId="2272"/>
        </pc:sldMkLst>
        <pc:spChg chg="add mod">
          <ac:chgData name="Sami Ruotsalainen" userId="ca7d0a82-bb72-4b23-ae21-867fa9b9b13f" providerId="ADAL" clId="{F5C18B79-145A-42E3-8C4C-CEB2056877C6}" dt="2024-08-14T11:11:50.027" v="534"/>
          <ac:spMkLst>
            <pc:docMk/>
            <pc:sldMk cId="4229664261" sldId="2272"/>
            <ac:spMk id="15" creationId="{0C346D15-4B1D-F1CB-4687-64E82597FFF5}"/>
          </ac:spMkLst>
        </pc:spChg>
      </pc:sldChg>
      <pc:sldChg chg="addSp modSp">
        <pc:chgData name="Sami Ruotsalainen" userId="ca7d0a82-bb72-4b23-ae21-867fa9b9b13f" providerId="ADAL" clId="{F5C18B79-145A-42E3-8C4C-CEB2056877C6}" dt="2024-08-14T11:11:53.319" v="537"/>
        <pc:sldMkLst>
          <pc:docMk/>
          <pc:sldMk cId="731635990" sldId="2275"/>
        </pc:sldMkLst>
        <pc:spChg chg="add mod">
          <ac:chgData name="Sami Ruotsalainen" userId="ca7d0a82-bb72-4b23-ae21-867fa9b9b13f" providerId="ADAL" clId="{F5C18B79-145A-42E3-8C4C-CEB2056877C6}" dt="2024-08-14T11:11:53.319" v="537"/>
          <ac:spMkLst>
            <pc:docMk/>
            <pc:sldMk cId="731635990" sldId="2275"/>
            <ac:spMk id="12" creationId="{107A55FE-6BD6-43DB-0E94-870C552508E5}"/>
          </ac:spMkLst>
        </pc:spChg>
      </pc:sldChg>
      <pc:sldChg chg="addSp modSp">
        <pc:chgData name="Sami Ruotsalainen" userId="ca7d0a82-bb72-4b23-ae21-867fa9b9b13f" providerId="ADAL" clId="{F5C18B79-145A-42E3-8C4C-CEB2056877C6}" dt="2024-08-14T11:11:51.762" v="536"/>
        <pc:sldMkLst>
          <pc:docMk/>
          <pc:sldMk cId="3492186645" sldId="2304"/>
        </pc:sldMkLst>
        <pc:spChg chg="add mod">
          <ac:chgData name="Sami Ruotsalainen" userId="ca7d0a82-bb72-4b23-ae21-867fa9b9b13f" providerId="ADAL" clId="{F5C18B79-145A-42E3-8C4C-CEB2056877C6}" dt="2024-08-14T11:11:51.762" v="536"/>
          <ac:spMkLst>
            <pc:docMk/>
            <pc:sldMk cId="3492186645" sldId="2304"/>
            <ac:spMk id="12" creationId="{26EDB2C1-66F4-D331-9999-DCD5EABBA433}"/>
          </ac:spMkLst>
        </pc:spChg>
      </pc:sldChg>
      <pc:sldChg chg="addSp modSp mod modShow">
        <pc:chgData name="Sami Ruotsalainen" userId="ca7d0a82-bb72-4b23-ae21-867fa9b9b13f" providerId="ADAL" clId="{F5C18B79-145A-42E3-8C4C-CEB2056877C6}" dt="2024-08-14T11:10:09.768" v="507"/>
        <pc:sldMkLst>
          <pc:docMk/>
          <pc:sldMk cId="292232145" sldId="2305"/>
        </pc:sldMkLst>
        <pc:spChg chg="add mod">
          <ac:chgData name="Sami Ruotsalainen" userId="ca7d0a82-bb72-4b23-ae21-867fa9b9b13f" providerId="ADAL" clId="{F5C18B79-145A-42E3-8C4C-CEB2056877C6}" dt="2024-08-14T11:10:09.768" v="507"/>
          <ac:spMkLst>
            <pc:docMk/>
            <pc:sldMk cId="292232145" sldId="2305"/>
            <ac:spMk id="5" creationId="{11C8B303-F00C-1FF8-260F-E92C560DE0AB}"/>
          </ac:spMkLst>
        </pc:spChg>
      </pc:sldChg>
      <pc:sldChg chg="addSp modSp mod">
        <pc:chgData name="Sami Ruotsalainen" userId="ca7d0a82-bb72-4b23-ae21-867fa9b9b13f" providerId="ADAL" clId="{F5C18B79-145A-42E3-8C4C-CEB2056877C6}" dt="2024-08-14T11:13:21.533" v="586" actId="20577"/>
        <pc:sldMkLst>
          <pc:docMk/>
          <pc:sldMk cId="4103803131" sldId="2307"/>
        </pc:sldMkLst>
        <pc:spChg chg="add mod">
          <ac:chgData name="Sami Ruotsalainen" userId="ca7d0a82-bb72-4b23-ae21-867fa9b9b13f" providerId="ADAL" clId="{F5C18B79-145A-42E3-8C4C-CEB2056877C6}" dt="2024-08-14T11:13:21.533" v="586" actId="20577"/>
          <ac:spMkLst>
            <pc:docMk/>
            <pc:sldMk cId="4103803131" sldId="2307"/>
            <ac:spMk id="10" creationId="{542F283E-A3A9-F4F9-23E5-F1BDBEA2F0BC}"/>
          </ac:spMkLst>
        </pc:spChg>
      </pc:sldChg>
      <pc:sldChg chg="addSp modSp mod modShow">
        <pc:chgData name="Sami Ruotsalainen" userId="ca7d0a82-bb72-4b23-ae21-867fa9b9b13f" providerId="ADAL" clId="{F5C18B79-145A-42E3-8C4C-CEB2056877C6}" dt="2024-08-14T11:10:11.920" v="509"/>
        <pc:sldMkLst>
          <pc:docMk/>
          <pc:sldMk cId="2127748144" sldId="2309"/>
        </pc:sldMkLst>
        <pc:spChg chg="add mod">
          <ac:chgData name="Sami Ruotsalainen" userId="ca7d0a82-bb72-4b23-ae21-867fa9b9b13f" providerId="ADAL" clId="{F5C18B79-145A-42E3-8C4C-CEB2056877C6}" dt="2024-08-14T11:10:11.920" v="509"/>
          <ac:spMkLst>
            <pc:docMk/>
            <pc:sldMk cId="2127748144" sldId="2309"/>
            <ac:spMk id="13" creationId="{A1739990-3640-E94D-4431-0F10FC51EC69}"/>
          </ac:spMkLst>
        </pc:spChg>
      </pc:sldChg>
      <pc:sldChg chg="addSp modSp mod">
        <pc:chgData name="Sami Ruotsalainen" userId="ca7d0a82-bb72-4b23-ae21-867fa9b9b13f" providerId="ADAL" clId="{F5C18B79-145A-42E3-8C4C-CEB2056877C6}" dt="2024-08-14T11:14:46.984" v="662" actId="20577"/>
        <pc:sldMkLst>
          <pc:docMk/>
          <pc:sldMk cId="3271234690" sldId="2311"/>
        </pc:sldMkLst>
        <pc:spChg chg="add mod">
          <ac:chgData name="Sami Ruotsalainen" userId="ca7d0a82-bb72-4b23-ae21-867fa9b9b13f" providerId="ADAL" clId="{F5C18B79-145A-42E3-8C4C-CEB2056877C6}" dt="2024-08-14T11:14:46.984" v="662" actId="20577"/>
          <ac:spMkLst>
            <pc:docMk/>
            <pc:sldMk cId="3271234690" sldId="2311"/>
            <ac:spMk id="7" creationId="{0227112B-5075-2429-12D3-BD2B8886B6CF}"/>
          </ac:spMkLst>
        </pc:spChg>
      </pc:sldChg>
      <pc:sldChg chg="addSp modSp mod">
        <pc:chgData name="Sami Ruotsalainen" userId="ca7d0a82-bb72-4b23-ae21-867fa9b9b13f" providerId="ADAL" clId="{F5C18B79-145A-42E3-8C4C-CEB2056877C6}" dt="2024-08-14T11:13:28.331" v="599" actId="6549"/>
        <pc:sldMkLst>
          <pc:docMk/>
          <pc:sldMk cId="873732989" sldId="2313"/>
        </pc:sldMkLst>
        <pc:spChg chg="add mod">
          <ac:chgData name="Sami Ruotsalainen" userId="ca7d0a82-bb72-4b23-ae21-867fa9b9b13f" providerId="ADAL" clId="{F5C18B79-145A-42E3-8C4C-CEB2056877C6}" dt="2024-08-14T11:13:28.331" v="599" actId="6549"/>
          <ac:spMkLst>
            <pc:docMk/>
            <pc:sldMk cId="873732989" sldId="2313"/>
            <ac:spMk id="6" creationId="{CE35134B-246D-7CB9-AAAE-59541B2A9DE5}"/>
          </ac:spMkLst>
        </pc:spChg>
      </pc:sldChg>
      <pc:sldChg chg="addSp delSp modSp add del mod">
        <pc:chgData name="Sami Ruotsalainen" userId="ca7d0a82-bb72-4b23-ae21-867fa9b9b13f" providerId="ADAL" clId="{F5C18B79-145A-42E3-8C4C-CEB2056877C6}" dt="2024-08-14T11:12:17.387" v="543" actId="113"/>
        <pc:sldMkLst>
          <pc:docMk/>
          <pc:sldMk cId="1922264814" sldId="2314"/>
        </pc:sldMkLst>
        <pc:spChg chg="mod">
          <ac:chgData name="Sami Ruotsalainen" userId="ca7d0a82-bb72-4b23-ae21-867fa9b9b13f" providerId="ADAL" clId="{F5C18B79-145A-42E3-8C4C-CEB2056877C6}" dt="2024-08-14T11:07:28.383" v="422" actId="6549"/>
          <ac:spMkLst>
            <pc:docMk/>
            <pc:sldMk cId="1922264814" sldId="2314"/>
            <ac:spMk id="2" creationId="{69AA4161-629E-449D-D8A4-84DE2840684E}"/>
          </ac:spMkLst>
        </pc:spChg>
        <pc:spChg chg="del">
          <ac:chgData name="Sami Ruotsalainen" userId="ca7d0a82-bb72-4b23-ae21-867fa9b9b13f" providerId="ADAL" clId="{F5C18B79-145A-42E3-8C4C-CEB2056877C6}" dt="2024-08-14T11:07:31.577" v="423" actId="478"/>
          <ac:spMkLst>
            <pc:docMk/>
            <pc:sldMk cId="1922264814" sldId="2314"/>
            <ac:spMk id="6" creationId="{C2246E01-5036-1ADE-479B-DEDDD31D9060}"/>
          </ac:spMkLst>
        </pc:spChg>
        <pc:spChg chg="mod">
          <ac:chgData name="Sami Ruotsalainen" userId="ca7d0a82-bb72-4b23-ae21-867fa9b9b13f" providerId="ADAL" clId="{F5C18B79-145A-42E3-8C4C-CEB2056877C6}" dt="2024-08-14T11:07:20.777" v="373" actId="20577"/>
          <ac:spMkLst>
            <pc:docMk/>
            <pc:sldMk cId="1922264814" sldId="2314"/>
            <ac:spMk id="7" creationId="{E3B8DE36-D74A-7B85-58B6-DE4BC02A1B26}"/>
          </ac:spMkLst>
        </pc:spChg>
        <pc:spChg chg="add mod">
          <ac:chgData name="Sami Ruotsalainen" userId="ca7d0a82-bb72-4b23-ae21-867fa9b9b13f" providerId="ADAL" clId="{F5C18B79-145A-42E3-8C4C-CEB2056877C6}" dt="2024-08-14T11:12:17.387" v="543" actId="113"/>
          <ac:spMkLst>
            <pc:docMk/>
            <pc:sldMk cId="1922264814" sldId="2314"/>
            <ac:spMk id="8" creationId="{A666F92B-2FA2-09B2-3F2C-1E28E82D377B}"/>
          </ac:spMkLst>
        </pc:spChg>
      </pc:sldChg>
      <pc:sldChg chg="add del setBg">
        <pc:chgData name="Sami Ruotsalainen" userId="ca7d0a82-bb72-4b23-ae21-867fa9b9b13f" providerId="ADAL" clId="{F5C18B79-145A-42E3-8C4C-CEB2056877C6}" dt="2024-08-14T11:07:09.081" v="363"/>
        <pc:sldMkLst>
          <pc:docMk/>
          <pc:sldMk cId="3160454777" sldId="2314"/>
        </pc:sldMkLst>
      </pc:sldChg>
      <pc:sldChg chg="add del setBg">
        <pc:chgData name="Sami Ruotsalainen" userId="ca7d0a82-bb72-4b23-ae21-867fa9b9b13f" providerId="ADAL" clId="{F5C18B79-145A-42E3-8C4C-CEB2056877C6}" dt="2024-08-14T11:07:09.081" v="363"/>
        <pc:sldMkLst>
          <pc:docMk/>
          <pc:sldMk cId="3064605024" sldId="2315"/>
        </pc:sldMkLst>
      </pc:sldChg>
      <pc:sldChg chg="delSp modSp add del mod">
        <pc:chgData name="Sami Ruotsalainen" userId="ca7d0a82-bb72-4b23-ae21-867fa9b9b13f" providerId="ADAL" clId="{F5C18B79-145A-42E3-8C4C-CEB2056877C6}" dt="2024-08-14T11:07:54.693" v="476" actId="478"/>
        <pc:sldMkLst>
          <pc:docMk/>
          <pc:sldMk cId="3882031705" sldId="2315"/>
        </pc:sldMkLst>
        <pc:spChg chg="mod">
          <ac:chgData name="Sami Ruotsalainen" userId="ca7d0a82-bb72-4b23-ae21-867fa9b9b13f" providerId="ADAL" clId="{F5C18B79-145A-42E3-8C4C-CEB2056877C6}" dt="2024-08-14T11:07:41.581" v="472" actId="6549"/>
          <ac:spMkLst>
            <pc:docMk/>
            <pc:sldMk cId="3882031705" sldId="2315"/>
            <ac:spMk id="5" creationId="{869A9178-4BCB-85F1-CF83-0E36382A95D1}"/>
          </ac:spMkLst>
        </pc:spChg>
        <pc:spChg chg="mod">
          <ac:chgData name="Sami Ruotsalainen" userId="ca7d0a82-bb72-4b23-ae21-867fa9b9b13f" providerId="ADAL" clId="{F5C18B79-145A-42E3-8C4C-CEB2056877C6}" dt="2024-08-14T11:07:52.523" v="475" actId="20577"/>
          <ac:spMkLst>
            <pc:docMk/>
            <pc:sldMk cId="3882031705" sldId="2315"/>
            <ac:spMk id="6" creationId="{F9ECEA5B-06B3-0CC0-8C11-67038CAF61E7}"/>
          </ac:spMkLst>
        </pc:spChg>
        <pc:spChg chg="mod">
          <ac:chgData name="Sami Ruotsalainen" userId="ca7d0a82-bb72-4b23-ae21-867fa9b9b13f" providerId="ADAL" clId="{F5C18B79-145A-42E3-8C4C-CEB2056877C6}" dt="2024-08-14T11:07:44.747" v="473" actId="20577"/>
          <ac:spMkLst>
            <pc:docMk/>
            <pc:sldMk cId="3882031705" sldId="2315"/>
            <ac:spMk id="9" creationId="{ABD824EA-818A-2135-5900-9AC6EC2417EA}"/>
          </ac:spMkLst>
        </pc:spChg>
        <pc:grpChg chg="del">
          <ac:chgData name="Sami Ruotsalainen" userId="ca7d0a82-bb72-4b23-ae21-867fa9b9b13f" providerId="ADAL" clId="{F5C18B79-145A-42E3-8C4C-CEB2056877C6}" dt="2024-08-14T11:07:54.693" v="476" actId="478"/>
          <ac:grpSpMkLst>
            <pc:docMk/>
            <pc:sldMk cId="3882031705" sldId="2315"/>
            <ac:grpSpMk id="13" creationId="{27CAFA8E-CB5E-0C98-01F9-7E442D0C0A88}"/>
          </ac:grpSpMkLst>
        </pc:grpChg>
      </pc:sldChg>
      <pc:sldChg chg="delSp modSp add mod">
        <pc:chgData name="Sami Ruotsalainen" userId="ca7d0a82-bb72-4b23-ae21-867fa9b9b13f" providerId="ADAL" clId="{F5C18B79-145A-42E3-8C4C-CEB2056877C6}" dt="2024-08-14T11:16:48.076" v="815" actId="6549"/>
        <pc:sldMkLst>
          <pc:docMk/>
          <pc:sldMk cId="3370479682" sldId="2316"/>
        </pc:sldMkLst>
        <pc:spChg chg="mod">
          <ac:chgData name="Sami Ruotsalainen" userId="ca7d0a82-bb72-4b23-ae21-867fa9b9b13f" providerId="ADAL" clId="{F5C18B79-145A-42E3-8C4C-CEB2056877C6}" dt="2024-08-14T11:15:38.490" v="681" actId="20577"/>
          <ac:spMkLst>
            <pc:docMk/>
            <pc:sldMk cId="3370479682" sldId="2316"/>
            <ac:spMk id="6" creationId="{4A72E0B5-900A-5486-7FFF-6566138C6A29}"/>
          </ac:spMkLst>
        </pc:spChg>
        <pc:spChg chg="mod">
          <ac:chgData name="Sami Ruotsalainen" userId="ca7d0a82-bb72-4b23-ae21-867fa9b9b13f" providerId="ADAL" clId="{F5C18B79-145A-42E3-8C4C-CEB2056877C6}" dt="2024-08-14T11:16:32.346" v="812" actId="6549"/>
          <ac:spMkLst>
            <pc:docMk/>
            <pc:sldMk cId="3370479682" sldId="2316"/>
            <ac:spMk id="7" creationId="{0227112B-5075-2429-12D3-BD2B8886B6CF}"/>
          </ac:spMkLst>
        </pc:spChg>
        <pc:spChg chg="mod">
          <ac:chgData name="Sami Ruotsalainen" userId="ca7d0a82-bb72-4b23-ae21-867fa9b9b13f" providerId="ADAL" clId="{F5C18B79-145A-42E3-8C4C-CEB2056877C6}" dt="2024-08-14T11:15:35.045" v="679" actId="20577"/>
          <ac:spMkLst>
            <pc:docMk/>
            <pc:sldMk cId="3370479682" sldId="2316"/>
            <ac:spMk id="9" creationId="{ABD824EA-818A-2135-5900-9AC6EC2417EA}"/>
          </ac:spMkLst>
        </pc:spChg>
        <pc:spChg chg="del">
          <ac:chgData name="Sami Ruotsalainen" userId="ca7d0a82-bb72-4b23-ae21-867fa9b9b13f" providerId="ADAL" clId="{F5C18B79-145A-42E3-8C4C-CEB2056877C6}" dt="2024-08-14T11:15:31.984" v="677" actId="478"/>
          <ac:spMkLst>
            <pc:docMk/>
            <pc:sldMk cId="3370479682" sldId="2316"/>
            <ac:spMk id="10" creationId="{4591603C-8EA0-3A1C-14D0-BBA761B05E43}"/>
          </ac:spMkLst>
        </pc:spChg>
        <pc:spChg chg="mod">
          <ac:chgData name="Sami Ruotsalainen" userId="ca7d0a82-bb72-4b23-ae21-867fa9b9b13f" providerId="ADAL" clId="{F5C18B79-145A-42E3-8C4C-CEB2056877C6}" dt="2024-08-14T11:15:41.947" v="682" actId="20577"/>
          <ac:spMkLst>
            <pc:docMk/>
            <pc:sldMk cId="3370479682" sldId="2316"/>
            <ac:spMk id="16" creationId="{D84090F2-88BC-8B9A-A403-1B57A1BEE8D4}"/>
          </ac:spMkLst>
        </pc:spChg>
        <pc:spChg chg="mod">
          <ac:chgData name="Sami Ruotsalainen" userId="ca7d0a82-bb72-4b23-ae21-867fa9b9b13f" providerId="ADAL" clId="{F5C18B79-145A-42E3-8C4C-CEB2056877C6}" dt="2024-08-14T11:16:48.076" v="815" actId="6549"/>
          <ac:spMkLst>
            <pc:docMk/>
            <pc:sldMk cId="3370479682" sldId="2316"/>
            <ac:spMk id="26" creationId="{9442913D-3C49-A45D-44C5-D96C4FA232A3}"/>
          </ac:spMkLst>
        </pc:spChg>
        <pc:picChg chg="del">
          <ac:chgData name="Sami Ruotsalainen" userId="ca7d0a82-bb72-4b23-ae21-867fa9b9b13f" providerId="ADAL" clId="{F5C18B79-145A-42E3-8C4C-CEB2056877C6}" dt="2024-08-14T11:15:44.958" v="683" actId="478"/>
          <ac:picMkLst>
            <pc:docMk/>
            <pc:sldMk cId="3370479682" sldId="2316"/>
            <ac:picMk id="18" creationId="{90965694-9597-7E75-BF62-69B6CC79883A}"/>
          </ac:picMkLst>
        </pc:picChg>
      </pc:sldChg>
      <pc:sldChg chg="modSp add mod">
        <pc:chgData name="Sami Ruotsalainen" userId="ca7d0a82-bb72-4b23-ae21-867fa9b9b13f" providerId="ADAL" clId="{F5C18B79-145A-42E3-8C4C-CEB2056877C6}" dt="2024-08-14T11:16:52.310" v="817" actId="6549"/>
        <pc:sldMkLst>
          <pc:docMk/>
          <pc:sldMk cId="1070583555" sldId="2317"/>
        </pc:sldMkLst>
        <pc:spChg chg="mod">
          <ac:chgData name="Sami Ruotsalainen" userId="ca7d0a82-bb72-4b23-ae21-867fa9b9b13f" providerId="ADAL" clId="{F5C18B79-145A-42E3-8C4C-CEB2056877C6}" dt="2024-08-14T11:16:52.310" v="817" actId="6549"/>
          <ac:spMkLst>
            <pc:docMk/>
            <pc:sldMk cId="1070583555" sldId="2317"/>
            <ac:spMk id="26" creationId="{9442913D-3C49-A45D-44C5-D96C4FA232A3}"/>
          </ac:spMkLst>
        </pc:spChg>
      </pc:sldChg>
      <pc:sldChg chg="modSp add mod">
        <pc:chgData name="Sami Ruotsalainen" userId="ca7d0a82-bb72-4b23-ae21-867fa9b9b13f" providerId="ADAL" clId="{F5C18B79-145A-42E3-8C4C-CEB2056877C6}" dt="2024-08-14T11:16:55.191" v="818" actId="6549"/>
        <pc:sldMkLst>
          <pc:docMk/>
          <pc:sldMk cId="3909644489" sldId="2318"/>
        </pc:sldMkLst>
        <pc:spChg chg="mod">
          <ac:chgData name="Sami Ruotsalainen" userId="ca7d0a82-bb72-4b23-ae21-867fa9b9b13f" providerId="ADAL" clId="{F5C18B79-145A-42E3-8C4C-CEB2056877C6}" dt="2024-08-14T11:16:55.191" v="818" actId="6549"/>
          <ac:spMkLst>
            <pc:docMk/>
            <pc:sldMk cId="3909644489" sldId="2318"/>
            <ac:spMk id="26" creationId="{9442913D-3C49-A45D-44C5-D96C4FA232A3}"/>
          </ac:spMkLst>
        </pc:spChg>
      </pc:sldChg>
    </pc:docChg>
  </pc:docChgLst>
  <pc:docChgLst>
    <pc:chgData name="Joel Jokivuori" userId="dad2b884-a891-4960-b725-0d4bc0900125" providerId="ADAL" clId="{70963128-1A74-4A3B-9E63-095EDF673F2A}"/>
    <pc:docChg chg="custSel modSld replTag">
      <pc:chgData name="Joel Jokivuori" userId="dad2b884-a891-4960-b725-0d4bc0900125" providerId="ADAL" clId="{70963128-1A74-4A3B-9E63-095EDF673F2A}" dt="2024-09-03T13:06:06.323" v="126" actId="20577"/>
      <pc:docMkLst>
        <pc:docMk/>
      </pc:docMkLst>
      <pc:sldChg chg="addSp delSp modSp mod">
        <pc:chgData name="Joel Jokivuori" userId="dad2b884-a891-4960-b725-0d4bc0900125" providerId="ADAL" clId="{70963128-1A74-4A3B-9E63-095EDF673F2A}" dt="2024-09-03T13:06:06.323" v="126" actId="20577"/>
        <pc:sldMkLst>
          <pc:docMk/>
          <pc:sldMk cId="1474602370" sldId="2331"/>
        </pc:sldMkLst>
        <pc:spChg chg="add del mod modVis">
          <ac:chgData name="Joel Jokivuori" userId="dad2b884-a891-4960-b725-0d4bc0900125" providerId="ADAL" clId="{70963128-1A74-4A3B-9E63-095EDF673F2A}" dt="2024-09-03T12:07:46.927" v="25"/>
          <ac:spMkLst>
            <pc:docMk/>
            <pc:sldMk cId="1474602370" sldId="2331"/>
            <ac:spMk id="2" creationId="{BD825BC6-3362-1131-5C68-050F917E2A83}"/>
          </ac:spMkLst>
        </pc:spChg>
        <pc:spChg chg="add del mod modVis">
          <ac:chgData name="Joel Jokivuori" userId="dad2b884-a891-4960-b725-0d4bc0900125" providerId="ADAL" clId="{70963128-1A74-4A3B-9E63-095EDF673F2A}" dt="2024-09-03T12:07:47.498" v="55"/>
          <ac:spMkLst>
            <pc:docMk/>
            <pc:sldMk cId="1474602370" sldId="2331"/>
            <ac:spMk id="3" creationId="{B8461E0F-8814-78BF-B5B1-FEC6D4BBF64C}"/>
          </ac:spMkLst>
        </pc:spChg>
        <pc:spChg chg="mod">
          <ac:chgData name="Joel Jokivuori" userId="dad2b884-a891-4960-b725-0d4bc0900125" providerId="ADAL" clId="{70963128-1A74-4A3B-9E63-095EDF673F2A}" dt="2024-09-03T12:07:47.466" v="30" actId="948"/>
          <ac:spMkLst>
            <pc:docMk/>
            <pc:sldMk cId="1474602370" sldId="2331"/>
            <ac:spMk id="5" creationId="{6FDE5BDC-7853-CA5D-C82C-0AA2D5C3BBD6}"/>
          </ac:spMkLst>
        </pc:spChg>
        <pc:spChg chg="add mod">
          <ac:chgData name="Joel Jokivuori" userId="dad2b884-a891-4960-b725-0d4bc0900125" providerId="ADAL" clId="{70963128-1A74-4A3B-9E63-095EDF673F2A}" dt="2024-09-03T13:06:06.323" v="126" actId="20577"/>
          <ac:spMkLst>
            <pc:docMk/>
            <pc:sldMk cId="1474602370" sldId="2331"/>
            <ac:spMk id="7" creationId="{6904A1C6-81AF-4B7F-2EBC-EE02287AA251}"/>
          </ac:spMkLst>
        </pc:spChg>
        <pc:spChg chg="mod">
          <ac:chgData name="Joel Jokivuori" userId="dad2b884-a891-4960-b725-0d4bc0900125" providerId="ADAL" clId="{70963128-1A74-4A3B-9E63-095EDF673F2A}" dt="2024-09-03T12:07:46.958" v="28" actId="27636"/>
          <ac:spMkLst>
            <pc:docMk/>
            <pc:sldMk cId="1474602370" sldId="2331"/>
            <ac:spMk id="12" creationId="{6C03DC5B-A961-BD95-9F83-AC550287D81C}"/>
          </ac:spMkLst>
        </pc:spChg>
        <pc:graphicFrameChg chg="mod">
          <ac:chgData name="Joel Jokivuori" userId="dad2b884-a891-4960-b725-0d4bc0900125" providerId="ADAL" clId="{70963128-1A74-4A3B-9E63-095EDF673F2A}" dt="2024-09-03T12:07:47.513" v="57"/>
          <ac:graphicFrameMkLst>
            <pc:docMk/>
            <pc:sldMk cId="1474602370" sldId="2331"/>
            <ac:graphicFrameMk id="6" creationId="{DCCEA1EC-4244-7554-BE35-51512307D860}"/>
          </ac:graphicFrameMkLst>
        </pc:graphicFrameChg>
      </pc:sldChg>
    </pc:docChg>
  </pc:docChgLst>
  <pc:docChgLst>
    <pc:chgData name="Samuel Rintamäki" userId="629c6419-5b68-4ba7-a2c4-1e58a48069f7" providerId="ADAL" clId="{C95C22F4-647C-4C0B-B23C-6DC1EDE4CEA4}"/>
    <pc:docChg chg="undo redo custSel addSld delSld modSld sldOrd">
      <pc:chgData name="Samuel Rintamäki" userId="629c6419-5b68-4ba7-a2c4-1e58a48069f7" providerId="ADAL" clId="{C95C22F4-647C-4C0B-B23C-6DC1EDE4CEA4}" dt="2024-08-30T11:21:40.200" v="8124" actId="1036"/>
      <pc:docMkLst>
        <pc:docMk/>
      </pc:docMkLst>
      <pc:sldChg chg="addSp delSp modSp mod">
        <pc:chgData name="Samuel Rintamäki" userId="629c6419-5b68-4ba7-a2c4-1e58a48069f7" providerId="ADAL" clId="{C95C22F4-647C-4C0B-B23C-6DC1EDE4CEA4}" dt="2024-08-23T08:43:41.427" v="8031" actId="478"/>
        <pc:sldMkLst>
          <pc:docMk/>
          <pc:sldMk cId="2233989291" sldId="260"/>
        </pc:sldMkLst>
        <pc:spChg chg="add del mod">
          <ac:chgData name="Samuel Rintamäki" userId="629c6419-5b68-4ba7-a2c4-1e58a48069f7" providerId="ADAL" clId="{C95C22F4-647C-4C0B-B23C-6DC1EDE4CEA4}" dt="2024-08-23T08:43:41.427" v="8031" actId="478"/>
          <ac:spMkLst>
            <pc:docMk/>
            <pc:sldMk cId="2233989291" sldId="260"/>
            <ac:spMk id="6" creationId="{34B94C26-38D2-55EB-BADA-E3E0202897F4}"/>
          </ac:spMkLst>
        </pc:spChg>
      </pc:sldChg>
      <pc:sldChg chg="addSp delSp modSp mod">
        <pc:chgData name="Samuel Rintamäki" userId="629c6419-5b68-4ba7-a2c4-1e58a48069f7" providerId="ADAL" clId="{C95C22F4-647C-4C0B-B23C-6DC1EDE4CEA4}" dt="2024-08-29T06:16:55.007" v="8065" actId="20577"/>
        <pc:sldMkLst>
          <pc:docMk/>
          <pc:sldMk cId="3681436765" sldId="267"/>
        </pc:sldMkLst>
        <pc:spChg chg="mod">
          <ac:chgData name="Samuel Rintamäki" userId="629c6419-5b68-4ba7-a2c4-1e58a48069f7" providerId="ADAL" clId="{C95C22F4-647C-4C0B-B23C-6DC1EDE4CEA4}" dt="2024-08-23T06:54:24.955" v="6490" actId="1076"/>
          <ac:spMkLst>
            <pc:docMk/>
            <pc:sldMk cId="3681436765" sldId="267"/>
            <ac:spMk id="6" creationId="{CF4E2CC1-9DEF-8186-EC66-97C241843D5B}"/>
          </ac:spMkLst>
        </pc:spChg>
        <pc:spChg chg="mod">
          <ac:chgData name="Samuel Rintamäki" userId="629c6419-5b68-4ba7-a2c4-1e58a48069f7" providerId="ADAL" clId="{C95C22F4-647C-4C0B-B23C-6DC1EDE4CEA4}" dt="2024-08-23T07:56:16.807" v="7805" actId="20577"/>
          <ac:spMkLst>
            <pc:docMk/>
            <pc:sldMk cId="3681436765" sldId="267"/>
            <ac:spMk id="8" creationId="{74A10508-4726-11E0-EE8A-048130E33896}"/>
          </ac:spMkLst>
        </pc:spChg>
        <pc:spChg chg="mod">
          <ac:chgData name="Samuel Rintamäki" userId="629c6419-5b68-4ba7-a2c4-1e58a48069f7" providerId="ADAL" clId="{C95C22F4-647C-4C0B-B23C-6DC1EDE4CEA4}" dt="2024-08-23T07:07:17.047" v="7171" actId="20577"/>
          <ac:spMkLst>
            <pc:docMk/>
            <pc:sldMk cId="3681436765" sldId="267"/>
            <ac:spMk id="12" creationId="{54676348-D246-26BF-47A7-28A42A166B97}"/>
          </ac:spMkLst>
        </pc:spChg>
        <pc:spChg chg="mod">
          <ac:chgData name="Samuel Rintamäki" userId="629c6419-5b68-4ba7-a2c4-1e58a48069f7" providerId="ADAL" clId="{C95C22F4-647C-4C0B-B23C-6DC1EDE4CEA4}" dt="2024-08-29T06:16:55.007" v="8065" actId="20577"/>
          <ac:spMkLst>
            <pc:docMk/>
            <pc:sldMk cId="3681436765" sldId="267"/>
            <ac:spMk id="15" creationId="{8527A019-04AF-BE04-9880-1B07953DB59D}"/>
          </ac:spMkLst>
        </pc:spChg>
        <pc:spChg chg="del mod">
          <ac:chgData name="Samuel Rintamäki" userId="629c6419-5b68-4ba7-a2c4-1e58a48069f7" providerId="ADAL" clId="{C95C22F4-647C-4C0B-B23C-6DC1EDE4CEA4}" dt="2024-08-23T07:05:34.250" v="6881" actId="478"/>
          <ac:spMkLst>
            <pc:docMk/>
            <pc:sldMk cId="3681436765" sldId="267"/>
            <ac:spMk id="16" creationId="{D45A38E9-B146-EEA5-99CF-4BD6F608454C}"/>
          </ac:spMkLst>
        </pc:spChg>
        <pc:graphicFrameChg chg="del mod">
          <ac:chgData name="Samuel Rintamäki" userId="629c6419-5b68-4ba7-a2c4-1e58a48069f7" providerId="ADAL" clId="{C95C22F4-647C-4C0B-B23C-6DC1EDE4CEA4}" dt="2024-08-23T06:54:43.035" v="6495" actId="478"/>
          <ac:graphicFrameMkLst>
            <pc:docMk/>
            <pc:sldMk cId="3681436765" sldId="267"/>
            <ac:graphicFrameMk id="10" creationId="{7D2B3EE8-9D00-42E4-9B3C-7EFECBABA295}"/>
          </ac:graphicFrameMkLst>
        </pc:graphicFrameChg>
        <pc:graphicFrameChg chg="del">
          <ac:chgData name="Samuel Rintamäki" userId="629c6419-5b68-4ba7-a2c4-1e58a48069f7" providerId="ADAL" clId="{C95C22F4-647C-4C0B-B23C-6DC1EDE4CEA4}" dt="2024-08-23T07:00:37.270" v="6619" actId="478"/>
          <ac:graphicFrameMkLst>
            <pc:docMk/>
            <pc:sldMk cId="3681436765" sldId="267"/>
            <ac:graphicFrameMk id="11" creationId="{EF05CCE1-82DE-6861-B1DA-01F6EA1066EA}"/>
          </ac:graphicFrameMkLst>
        </pc:graphicFrameChg>
        <pc:graphicFrameChg chg="add mod">
          <ac:chgData name="Samuel Rintamäki" userId="629c6419-5b68-4ba7-a2c4-1e58a48069f7" providerId="ADAL" clId="{C95C22F4-647C-4C0B-B23C-6DC1EDE4CEA4}" dt="2024-08-23T06:54:38.691" v="6494" actId="1076"/>
          <ac:graphicFrameMkLst>
            <pc:docMk/>
            <pc:sldMk cId="3681436765" sldId="267"/>
            <ac:graphicFrameMk id="17" creationId="{8BBD307B-780F-5CAA-3AB7-7ADA68673DB1}"/>
          </ac:graphicFrameMkLst>
        </pc:graphicFrameChg>
        <pc:graphicFrameChg chg="add mod">
          <ac:chgData name="Samuel Rintamäki" userId="629c6419-5b68-4ba7-a2c4-1e58a48069f7" providerId="ADAL" clId="{C95C22F4-647C-4C0B-B23C-6DC1EDE4CEA4}" dt="2024-08-23T07:02:17.324" v="6673"/>
          <ac:graphicFrameMkLst>
            <pc:docMk/>
            <pc:sldMk cId="3681436765" sldId="267"/>
            <ac:graphicFrameMk id="18" creationId="{A4DA2761-12A0-4FC3-FEBD-16D884F8CE2C}"/>
          </ac:graphicFrameMkLst>
        </pc:graphicFrameChg>
      </pc:sldChg>
      <pc:sldChg chg="addSp delSp modSp mod">
        <pc:chgData name="Samuel Rintamäki" userId="629c6419-5b68-4ba7-a2c4-1e58a48069f7" providerId="ADAL" clId="{C95C22F4-647C-4C0B-B23C-6DC1EDE4CEA4}" dt="2024-08-29T07:10:28.112" v="8099" actId="20577"/>
        <pc:sldMkLst>
          <pc:docMk/>
          <pc:sldMk cId="956414826" sldId="268"/>
        </pc:sldMkLst>
        <pc:spChg chg="mod ord">
          <ac:chgData name="Samuel Rintamäki" userId="629c6419-5b68-4ba7-a2c4-1e58a48069f7" providerId="ADAL" clId="{C95C22F4-647C-4C0B-B23C-6DC1EDE4CEA4}" dt="2024-08-29T06:37:04.815" v="8068" actId="1076"/>
          <ac:spMkLst>
            <pc:docMk/>
            <pc:sldMk cId="956414826" sldId="268"/>
            <ac:spMk id="6" creationId="{CF4E2CC1-9DEF-8186-EC66-97C241843D5B}"/>
          </ac:spMkLst>
        </pc:spChg>
        <pc:spChg chg="mod">
          <ac:chgData name="Samuel Rintamäki" userId="629c6419-5b68-4ba7-a2c4-1e58a48069f7" providerId="ADAL" clId="{C95C22F4-647C-4C0B-B23C-6DC1EDE4CEA4}" dt="2024-08-23T05:39:08.342" v="5074" actId="1076"/>
          <ac:spMkLst>
            <pc:docMk/>
            <pc:sldMk cId="956414826" sldId="268"/>
            <ac:spMk id="7" creationId="{0BB2273C-58A1-55BD-9F35-75C65881BBF5}"/>
          </ac:spMkLst>
        </pc:spChg>
        <pc:spChg chg="mod">
          <ac:chgData name="Samuel Rintamäki" userId="629c6419-5b68-4ba7-a2c4-1e58a48069f7" providerId="ADAL" clId="{C95C22F4-647C-4C0B-B23C-6DC1EDE4CEA4}" dt="2024-08-29T07:10:28.112" v="8099" actId="20577"/>
          <ac:spMkLst>
            <pc:docMk/>
            <pc:sldMk cId="956414826" sldId="268"/>
            <ac:spMk id="8" creationId="{74A10508-4726-11E0-EE8A-048130E33896}"/>
          </ac:spMkLst>
        </pc:spChg>
        <pc:spChg chg="del mod">
          <ac:chgData name="Samuel Rintamäki" userId="629c6419-5b68-4ba7-a2c4-1e58a48069f7" providerId="ADAL" clId="{C95C22F4-647C-4C0B-B23C-6DC1EDE4CEA4}" dt="2024-08-23T05:38:00.836" v="5057" actId="478"/>
          <ac:spMkLst>
            <pc:docMk/>
            <pc:sldMk cId="956414826" sldId="268"/>
            <ac:spMk id="10" creationId="{78AD6F1A-23F5-D053-72F3-2115088CCD5B}"/>
          </ac:spMkLst>
        </pc:spChg>
        <pc:spChg chg="mod">
          <ac:chgData name="Samuel Rintamäki" userId="629c6419-5b68-4ba7-a2c4-1e58a48069f7" providerId="ADAL" clId="{C95C22F4-647C-4C0B-B23C-6DC1EDE4CEA4}" dt="2024-08-23T07:58:20.350" v="7890" actId="20577"/>
          <ac:spMkLst>
            <pc:docMk/>
            <pc:sldMk cId="956414826" sldId="268"/>
            <ac:spMk id="12" creationId="{54676348-D246-26BF-47A7-28A42A166B97}"/>
          </ac:spMkLst>
        </pc:spChg>
        <pc:spChg chg="mod">
          <ac:chgData name="Samuel Rintamäki" userId="629c6419-5b68-4ba7-a2c4-1e58a48069f7" providerId="ADAL" clId="{C95C22F4-647C-4C0B-B23C-6DC1EDE4CEA4}" dt="2024-08-23T06:09:50.239" v="6311" actId="20577"/>
          <ac:spMkLst>
            <pc:docMk/>
            <pc:sldMk cId="956414826" sldId="268"/>
            <ac:spMk id="16" creationId="{D84090F2-88BC-8B9A-A403-1B57A1BEE8D4}"/>
          </ac:spMkLst>
        </pc:spChg>
        <pc:graphicFrameChg chg="add mod">
          <ac:chgData name="Samuel Rintamäki" userId="629c6419-5b68-4ba7-a2c4-1e58a48069f7" providerId="ADAL" clId="{C95C22F4-647C-4C0B-B23C-6DC1EDE4CEA4}" dt="2024-08-23T05:41:30.758" v="5170"/>
          <ac:graphicFrameMkLst>
            <pc:docMk/>
            <pc:sldMk cId="956414826" sldId="268"/>
            <ac:graphicFrameMk id="11" creationId="{766562F7-E356-0230-3376-6CE8B6307160}"/>
          </ac:graphicFrameMkLst>
        </pc:graphicFrameChg>
        <pc:graphicFrameChg chg="del mod">
          <ac:chgData name="Samuel Rintamäki" userId="629c6419-5b68-4ba7-a2c4-1e58a48069f7" providerId="ADAL" clId="{C95C22F4-647C-4C0B-B23C-6DC1EDE4CEA4}" dt="2024-08-23T05:41:47.734" v="5174" actId="478"/>
          <ac:graphicFrameMkLst>
            <pc:docMk/>
            <pc:sldMk cId="956414826" sldId="268"/>
            <ac:graphicFrameMk id="13" creationId="{517B7E22-4366-40C8-D1FC-345A34547177}"/>
          </ac:graphicFrameMkLst>
        </pc:graphicFrameChg>
      </pc:sldChg>
      <pc:sldChg chg="addSp delSp modSp mod">
        <pc:chgData name="Samuel Rintamäki" userId="629c6419-5b68-4ba7-a2c4-1e58a48069f7" providerId="ADAL" clId="{C95C22F4-647C-4C0B-B23C-6DC1EDE4CEA4}" dt="2024-08-23T07:58:41.887" v="7892" actId="20577"/>
        <pc:sldMkLst>
          <pc:docMk/>
          <pc:sldMk cId="2160911306" sldId="269"/>
        </pc:sldMkLst>
        <pc:spChg chg="mod">
          <ac:chgData name="Samuel Rintamäki" userId="629c6419-5b68-4ba7-a2c4-1e58a48069f7" providerId="ADAL" clId="{C95C22F4-647C-4C0B-B23C-6DC1EDE4CEA4}" dt="2024-08-21T11:47:57.432" v="5052" actId="14100"/>
          <ac:spMkLst>
            <pc:docMk/>
            <pc:sldMk cId="2160911306" sldId="269"/>
            <ac:spMk id="8" creationId="{74A10508-4726-11E0-EE8A-048130E33896}"/>
          </ac:spMkLst>
        </pc:spChg>
        <pc:spChg chg="del mod">
          <ac:chgData name="Samuel Rintamäki" userId="629c6419-5b68-4ba7-a2c4-1e58a48069f7" providerId="ADAL" clId="{C95C22F4-647C-4C0B-B23C-6DC1EDE4CEA4}" dt="2024-08-21T11:47:32.374" v="5051" actId="478"/>
          <ac:spMkLst>
            <pc:docMk/>
            <pc:sldMk cId="2160911306" sldId="269"/>
            <ac:spMk id="10" creationId="{99031F1C-8887-78F5-D25C-4DB1090C6E8A}"/>
          </ac:spMkLst>
        </pc:spChg>
        <pc:spChg chg="mod">
          <ac:chgData name="Samuel Rintamäki" userId="629c6419-5b68-4ba7-a2c4-1e58a48069f7" providerId="ADAL" clId="{C95C22F4-647C-4C0B-B23C-6DC1EDE4CEA4}" dt="2024-08-23T07:58:41.887" v="7892" actId="20577"/>
          <ac:spMkLst>
            <pc:docMk/>
            <pc:sldMk cId="2160911306" sldId="269"/>
            <ac:spMk id="12" creationId="{54676348-D246-26BF-47A7-28A42A166B97}"/>
          </ac:spMkLst>
        </pc:spChg>
        <pc:graphicFrameChg chg="del mod">
          <ac:chgData name="Samuel Rintamäki" userId="629c6419-5b68-4ba7-a2c4-1e58a48069f7" providerId="ADAL" clId="{C95C22F4-647C-4C0B-B23C-6DC1EDE4CEA4}" dt="2024-08-21T10:52:17.765" v="4095" actId="478"/>
          <ac:graphicFrameMkLst>
            <pc:docMk/>
            <pc:sldMk cId="2160911306" sldId="269"/>
            <ac:graphicFrameMk id="7" creationId="{2CDFEB16-B817-F04F-249A-211E07EB32C8}"/>
          </ac:graphicFrameMkLst>
        </pc:graphicFrameChg>
        <pc:graphicFrameChg chg="del mod">
          <ac:chgData name="Samuel Rintamäki" userId="629c6419-5b68-4ba7-a2c4-1e58a48069f7" providerId="ADAL" clId="{C95C22F4-647C-4C0B-B23C-6DC1EDE4CEA4}" dt="2024-08-21T10:53:57.314" v="4117" actId="478"/>
          <ac:graphicFrameMkLst>
            <pc:docMk/>
            <pc:sldMk cId="2160911306" sldId="269"/>
            <ac:graphicFrameMk id="13" creationId="{2A9D0D08-01C4-0E69-53C6-7A359DFC27FB}"/>
          </ac:graphicFrameMkLst>
        </pc:graphicFrameChg>
        <pc:graphicFrameChg chg="add mod">
          <ac:chgData name="Samuel Rintamäki" userId="629c6419-5b68-4ba7-a2c4-1e58a48069f7" providerId="ADAL" clId="{C95C22F4-647C-4C0B-B23C-6DC1EDE4CEA4}" dt="2024-08-21T10:51:55.112" v="4090" actId="404"/>
          <ac:graphicFrameMkLst>
            <pc:docMk/>
            <pc:sldMk cId="2160911306" sldId="269"/>
            <ac:graphicFrameMk id="14" creationId="{687EF5FE-BE85-AC06-422F-D7EA75EF9482}"/>
          </ac:graphicFrameMkLst>
        </pc:graphicFrameChg>
        <pc:graphicFrameChg chg="add mod">
          <ac:chgData name="Samuel Rintamäki" userId="629c6419-5b68-4ba7-a2c4-1e58a48069f7" providerId="ADAL" clId="{C95C22F4-647C-4C0B-B23C-6DC1EDE4CEA4}" dt="2024-08-21T10:53:47.455" v="4116" actId="404"/>
          <ac:graphicFrameMkLst>
            <pc:docMk/>
            <pc:sldMk cId="2160911306" sldId="269"/>
            <ac:graphicFrameMk id="15" creationId="{C29B98CD-2FCE-3D83-6981-33765EEF08B6}"/>
          </ac:graphicFrameMkLst>
        </pc:graphicFrameChg>
      </pc:sldChg>
      <pc:sldChg chg="addSp delSp modSp mod">
        <pc:chgData name="Samuel Rintamäki" userId="629c6419-5b68-4ba7-a2c4-1e58a48069f7" providerId="ADAL" clId="{C95C22F4-647C-4C0B-B23C-6DC1EDE4CEA4}" dt="2024-08-29T07:10:26.200" v="8097" actId="20577"/>
        <pc:sldMkLst>
          <pc:docMk/>
          <pc:sldMk cId="959288810" sldId="270"/>
        </pc:sldMkLst>
        <pc:spChg chg="del mod">
          <ac:chgData name="Samuel Rintamäki" userId="629c6419-5b68-4ba7-a2c4-1e58a48069f7" providerId="ADAL" clId="{C95C22F4-647C-4C0B-B23C-6DC1EDE4CEA4}" dt="2024-08-21T11:47:30.633" v="5050" actId="478"/>
          <ac:spMkLst>
            <pc:docMk/>
            <pc:sldMk cId="959288810" sldId="270"/>
            <ac:spMk id="7" creationId="{F84E211F-67C4-5362-BE38-94FF0DAC70E5}"/>
          </ac:spMkLst>
        </pc:spChg>
        <pc:spChg chg="mod">
          <ac:chgData name="Samuel Rintamäki" userId="629c6419-5b68-4ba7-a2c4-1e58a48069f7" providerId="ADAL" clId="{C95C22F4-647C-4C0B-B23C-6DC1EDE4CEA4}" dt="2024-08-21T11:47:25.417" v="5049" actId="20577"/>
          <ac:spMkLst>
            <pc:docMk/>
            <pc:sldMk cId="959288810" sldId="270"/>
            <ac:spMk id="8" creationId="{74A10508-4726-11E0-EE8A-048130E33896}"/>
          </ac:spMkLst>
        </pc:spChg>
        <pc:spChg chg="mod">
          <ac:chgData name="Samuel Rintamäki" userId="629c6419-5b68-4ba7-a2c4-1e58a48069f7" providerId="ADAL" clId="{C95C22F4-647C-4C0B-B23C-6DC1EDE4CEA4}" dt="2024-08-29T07:10:26.200" v="8097" actId="20577"/>
          <ac:spMkLst>
            <pc:docMk/>
            <pc:sldMk cId="959288810" sldId="270"/>
            <ac:spMk id="12" creationId="{54676348-D246-26BF-47A7-28A42A166B97}"/>
          </ac:spMkLst>
        </pc:spChg>
        <pc:graphicFrameChg chg="add del mod">
          <ac:chgData name="Samuel Rintamäki" userId="629c6419-5b68-4ba7-a2c4-1e58a48069f7" providerId="ADAL" clId="{C95C22F4-647C-4C0B-B23C-6DC1EDE4CEA4}" dt="2024-08-21T10:58:31.490" v="4170" actId="478"/>
          <ac:graphicFrameMkLst>
            <pc:docMk/>
            <pc:sldMk cId="959288810" sldId="270"/>
            <ac:graphicFrameMk id="10" creationId="{0FB10643-A469-4C16-B7D3-391FA2D1E28B}"/>
          </ac:graphicFrameMkLst>
        </pc:graphicFrameChg>
        <pc:graphicFrameChg chg="add mod">
          <ac:chgData name="Samuel Rintamäki" userId="629c6419-5b68-4ba7-a2c4-1e58a48069f7" providerId="ADAL" clId="{C95C22F4-647C-4C0B-B23C-6DC1EDE4CEA4}" dt="2024-08-21T10:59:44.418" v="4186"/>
          <ac:graphicFrameMkLst>
            <pc:docMk/>
            <pc:sldMk cId="959288810" sldId="270"/>
            <ac:graphicFrameMk id="11" creationId="{0FB10643-A469-4C16-B7D3-391FA2D1E28B}"/>
          </ac:graphicFrameMkLst>
        </pc:graphicFrameChg>
        <pc:graphicFrameChg chg="del">
          <ac:chgData name="Samuel Rintamäki" userId="629c6419-5b68-4ba7-a2c4-1e58a48069f7" providerId="ADAL" clId="{C95C22F4-647C-4C0B-B23C-6DC1EDE4CEA4}" dt="2024-08-21T10:55:31.459" v="4136" actId="478"/>
          <ac:graphicFrameMkLst>
            <pc:docMk/>
            <pc:sldMk cId="959288810" sldId="270"/>
            <ac:graphicFrameMk id="13" creationId="{440143DE-96FB-A3B8-C4F0-85E8B132480C}"/>
          </ac:graphicFrameMkLst>
        </pc:graphicFrameChg>
      </pc:sldChg>
      <pc:sldChg chg="addSp delSp modSp mod">
        <pc:chgData name="Samuel Rintamäki" userId="629c6419-5b68-4ba7-a2c4-1e58a48069f7" providerId="ADAL" clId="{C95C22F4-647C-4C0B-B23C-6DC1EDE4CEA4}" dt="2024-08-29T06:46:30.975" v="8076" actId="1076"/>
        <pc:sldMkLst>
          <pc:docMk/>
          <pc:sldMk cId="3225025497" sldId="271"/>
        </pc:sldMkLst>
        <pc:spChg chg="mod">
          <ac:chgData name="Samuel Rintamäki" userId="629c6419-5b68-4ba7-a2c4-1e58a48069f7" providerId="ADAL" clId="{C95C22F4-647C-4C0B-B23C-6DC1EDE4CEA4}" dt="2024-08-29T06:46:30.975" v="8076" actId="1076"/>
          <ac:spMkLst>
            <pc:docMk/>
            <pc:sldMk cId="3225025497" sldId="271"/>
            <ac:spMk id="6" creationId="{CF4E2CC1-9DEF-8186-EC66-97C241843D5B}"/>
          </ac:spMkLst>
        </pc:spChg>
        <pc:spChg chg="mod">
          <ac:chgData name="Samuel Rintamäki" userId="629c6419-5b68-4ba7-a2c4-1e58a48069f7" providerId="ADAL" clId="{C95C22F4-647C-4C0B-B23C-6DC1EDE4CEA4}" dt="2024-08-21T10:37:55.363" v="3943" actId="20577"/>
          <ac:spMkLst>
            <pc:docMk/>
            <pc:sldMk cId="3225025497" sldId="271"/>
            <ac:spMk id="8" creationId="{74A10508-4726-11E0-EE8A-048130E33896}"/>
          </ac:spMkLst>
        </pc:spChg>
        <pc:spChg chg="del mod">
          <ac:chgData name="Samuel Rintamäki" userId="629c6419-5b68-4ba7-a2c4-1e58a48069f7" providerId="ADAL" clId="{C95C22F4-647C-4C0B-B23C-6DC1EDE4CEA4}" dt="2024-08-21T10:35:33.762" v="3859" actId="478"/>
          <ac:spMkLst>
            <pc:docMk/>
            <pc:sldMk cId="3225025497" sldId="271"/>
            <ac:spMk id="10" creationId="{3C27E449-B4DE-837C-3109-2C0D91B7ECD7}"/>
          </ac:spMkLst>
        </pc:spChg>
        <pc:spChg chg="mod">
          <ac:chgData name="Samuel Rintamäki" userId="629c6419-5b68-4ba7-a2c4-1e58a48069f7" providerId="ADAL" clId="{C95C22F4-647C-4C0B-B23C-6DC1EDE4CEA4}" dt="2024-08-21T10:38:43.037" v="4066" actId="20577"/>
          <ac:spMkLst>
            <pc:docMk/>
            <pc:sldMk cId="3225025497" sldId="271"/>
            <ac:spMk id="12" creationId="{54676348-D246-26BF-47A7-28A42A166B97}"/>
          </ac:spMkLst>
        </pc:spChg>
        <pc:spChg chg="mod">
          <ac:chgData name="Samuel Rintamäki" userId="629c6419-5b68-4ba7-a2c4-1e58a48069f7" providerId="ADAL" clId="{C95C22F4-647C-4C0B-B23C-6DC1EDE4CEA4}" dt="2024-08-29T06:46:30.123" v="8074" actId="164"/>
          <ac:spMkLst>
            <pc:docMk/>
            <pc:sldMk cId="3225025497" sldId="271"/>
            <ac:spMk id="14" creationId="{A6437A13-4E08-3812-05CB-4CF0BC2B25A7}"/>
          </ac:spMkLst>
        </pc:spChg>
        <pc:spChg chg="mod">
          <ac:chgData name="Samuel Rintamäki" userId="629c6419-5b68-4ba7-a2c4-1e58a48069f7" providerId="ADAL" clId="{C95C22F4-647C-4C0B-B23C-6DC1EDE4CEA4}" dt="2024-08-29T06:46:30.123" v="8074" actId="164"/>
          <ac:spMkLst>
            <pc:docMk/>
            <pc:sldMk cId="3225025497" sldId="271"/>
            <ac:spMk id="16" creationId="{6C5607A9-EE91-A9F4-8AAD-59BE19825A3A}"/>
          </ac:spMkLst>
        </pc:spChg>
        <pc:spChg chg="mod">
          <ac:chgData name="Samuel Rintamäki" userId="629c6419-5b68-4ba7-a2c4-1e58a48069f7" providerId="ADAL" clId="{C95C22F4-647C-4C0B-B23C-6DC1EDE4CEA4}" dt="2024-08-29T06:46:30.123" v="8074" actId="164"/>
          <ac:spMkLst>
            <pc:docMk/>
            <pc:sldMk cId="3225025497" sldId="271"/>
            <ac:spMk id="17" creationId="{A4FBAC8D-6BE2-D33C-D294-2F9F40C7B409}"/>
          </ac:spMkLst>
        </pc:spChg>
        <pc:spChg chg="mod">
          <ac:chgData name="Samuel Rintamäki" userId="629c6419-5b68-4ba7-a2c4-1e58a48069f7" providerId="ADAL" clId="{C95C22F4-647C-4C0B-B23C-6DC1EDE4CEA4}" dt="2024-08-29T06:46:30.123" v="8074" actId="164"/>
          <ac:spMkLst>
            <pc:docMk/>
            <pc:sldMk cId="3225025497" sldId="271"/>
            <ac:spMk id="18" creationId="{70293889-835A-37C4-B40D-EF4DC9B27009}"/>
          </ac:spMkLst>
        </pc:spChg>
        <pc:spChg chg="mod">
          <ac:chgData name="Samuel Rintamäki" userId="629c6419-5b68-4ba7-a2c4-1e58a48069f7" providerId="ADAL" clId="{C95C22F4-647C-4C0B-B23C-6DC1EDE4CEA4}" dt="2024-08-29T06:46:30.123" v="8074" actId="164"/>
          <ac:spMkLst>
            <pc:docMk/>
            <pc:sldMk cId="3225025497" sldId="271"/>
            <ac:spMk id="19" creationId="{BA1E7B55-741D-88F7-737C-FF7053CB0BE8}"/>
          </ac:spMkLst>
        </pc:spChg>
        <pc:spChg chg="mod">
          <ac:chgData name="Samuel Rintamäki" userId="629c6419-5b68-4ba7-a2c4-1e58a48069f7" providerId="ADAL" clId="{C95C22F4-647C-4C0B-B23C-6DC1EDE4CEA4}" dt="2024-08-29T06:46:30.123" v="8074" actId="164"/>
          <ac:spMkLst>
            <pc:docMk/>
            <pc:sldMk cId="3225025497" sldId="271"/>
            <ac:spMk id="20" creationId="{0FBC661F-8D51-3500-C1B4-161EA8DD27A9}"/>
          </ac:spMkLst>
        </pc:spChg>
        <pc:spChg chg="mod">
          <ac:chgData name="Samuel Rintamäki" userId="629c6419-5b68-4ba7-a2c4-1e58a48069f7" providerId="ADAL" clId="{C95C22F4-647C-4C0B-B23C-6DC1EDE4CEA4}" dt="2024-08-29T06:46:30.123" v="8074" actId="164"/>
          <ac:spMkLst>
            <pc:docMk/>
            <pc:sldMk cId="3225025497" sldId="271"/>
            <ac:spMk id="21" creationId="{84B7498E-0E02-B512-D189-F94A6F41BAE0}"/>
          </ac:spMkLst>
        </pc:spChg>
        <pc:spChg chg="mod">
          <ac:chgData name="Samuel Rintamäki" userId="629c6419-5b68-4ba7-a2c4-1e58a48069f7" providerId="ADAL" clId="{C95C22F4-647C-4C0B-B23C-6DC1EDE4CEA4}" dt="2024-08-29T06:46:30.123" v="8074" actId="164"/>
          <ac:spMkLst>
            <pc:docMk/>
            <pc:sldMk cId="3225025497" sldId="271"/>
            <ac:spMk id="22" creationId="{C168D702-0840-48E8-602B-D1484BEDEE67}"/>
          </ac:spMkLst>
        </pc:spChg>
        <pc:spChg chg="mod">
          <ac:chgData name="Samuel Rintamäki" userId="629c6419-5b68-4ba7-a2c4-1e58a48069f7" providerId="ADAL" clId="{C95C22F4-647C-4C0B-B23C-6DC1EDE4CEA4}" dt="2024-08-29T06:46:30.123" v="8074" actId="164"/>
          <ac:spMkLst>
            <pc:docMk/>
            <pc:sldMk cId="3225025497" sldId="271"/>
            <ac:spMk id="23" creationId="{204B506E-2088-4770-DCE5-FDAFBF0F66BC}"/>
          </ac:spMkLst>
        </pc:spChg>
        <pc:grpChg chg="add mod">
          <ac:chgData name="Samuel Rintamäki" userId="629c6419-5b68-4ba7-a2c4-1e58a48069f7" providerId="ADAL" clId="{C95C22F4-647C-4C0B-B23C-6DC1EDE4CEA4}" dt="2024-08-29T06:46:30.123" v="8074" actId="164"/>
          <ac:grpSpMkLst>
            <pc:docMk/>
            <pc:sldMk cId="3225025497" sldId="271"/>
            <ac:grpSpMk id="10" creationId="{4B21AED9-27C8-5F8F-2036-3D9730F16F75}"/>
          </ac:grpSpMkLst>
        </pc:grpChg>
        <pc:graphicFrameChg chg="add mod">
          <ac:chgData name="Samuel Rintamäki" userId="629c6419-5b68-4ba7-a2c4-1e58a48069f7" providerId="ADAL" clId="{C95C22F4-647C-4C0B-B23C-6DC1EDE4CEA4}" dt="2024-08-29T06:46:30.123" v="8074" actId="164"/>
          <ac:graphicFrameMkLst>
            <pc:docMk/>
            <pc:sldMk cId="3225025497" sldId="271"/>
            <ac:graphicFrameMk id="11" creationId="{E9FD1BEE-3FF5-DA91-0904-AE8D6A5CAD8F}"/>
          </ac:graphicFrameMkLst>
        </pc:graphicFrameChg>
        <pc:graphicFrameChg chg="del mod">
          <ac:chgData name="Samuel Rintamäki" userId="629c6419-5b68-4ba7-a2c4-1e58a48069f7" providerId="ADAL" clId="{C95C22F4-647C-4C0B-B23C-6DC1EDE4CEA4}" dt="2024-08-21T10:03:44.483" v="2809" actId="478"/>
          <ac:graphicFrameMkLst>
            <pc:docMk/>
            <pc:sldMk cId="3225025497" sldId="271"/>
            <ac:graphicFrameMk id="13" creationId="{4652C34E-E011-C94E-6B4F-098E0293B0FE}"/>
          </ac:graphicFrameMkLst>
        </pc:graphicFrameChg>
        <pc:graphicFrameChg chg="del">
          <ac:chgData name="Samuel Rintamäki" userId="629c6419-5b68-4ba7-a2c4-1e58a48069f7" providerId="ADAL" clId="{C95C22F4-647C-4C0B-B23C-6DC1EDE4CEA4}" dt="2024-08-21T10:06:34.962" v="2842" actId="478"/>
          <ac:graphicFrameMkLst>
            <pc:docMk/>
            <pc:sldMk cId="3225025497" sldId="271"/>
            <ac:graphicFrameMk id="24" creationId="{D0260561-6EA7-4152-A690-52C14A3280E5}"/>
          </ac:graphicFrameMkLst>
        </pc:graphicFrameChg>
        <pc:graphicFrameChg chg="add mod">
          <ac:chgData name="Samuel Rintamäki" userId="629c6419-5b68-4ba7-a2c4-1e58a48069f7" providerId="ADAL" clId="{C95C22F4-647C-4C0B-B23C-6DC1EDE4CEA4}" dt="2024-08-21T10:06:48.572" v="2845" actId="2084"/>
          <ac:graphicFrameMkLst>
            <pc:docMk/>
            <pc:sldMk cId="3225025497" sldId="271"/>
            <ac:graphicFrameMk id="25" creationId="{305749D8-F13D-7350-BC2B-C56EBA658318}"/>
          </ac:graphicFrameMkLst>
        </pc:graphicFrameChg>
      </pc:sldChg>
      <pc:sldChg chg="addSp delSp modSp mod">
        <pc:chgData name="Samuel Rintamäki" userId="629c6419-5b68-4ba7-a2c4-1e58a48069f7" providerId="ADAL" clId="{C95C22F4-647C-4C0B-B23C-6DC1EDE4CEA4}" dt="2024-08-29T07:16:43.726" v="8116" actId="20577"/>
        <pc:sldMkLst>
          <pc:docMk/>
          <pc:sldMk cId="2009147110" sldId="272"/>
        </pc:sldMkLst>
        <pc:spChg chg="mod">
          <ac:chgData name="Samuel Rintamäki" userId="629c6419-5b68-4ba7-a2c4-1e58a48069f7" providerId="ADAL" clId="{C95C22F4-647C-4C0B-B23C-6DC1EDE4CEA4}" dt="2024-08-21T09:47:17.048" v="2491" actId="20577"/>
          <ac:spMkLst>
            <pc:docMk/>
            <pc:sldMk cId="2009147110" sldId="272"/>
            <ac:spMk id="8" creationId="{74A10508-4726-11E0-EE8A-048130E33896}"/>
          </ac:spMkLst>
        </pc:spChg>
        <pc:spChg chg="mod">
          <ac:chgData name="Samuel Rintamäki" userId="629c6419-5b68-4ba7-a2c4-1e58a48069f7" providerId="ADAL" clId="{C95C22F4-647C-4C0B-B23C-6DC1EDE4CEA4}" dt="2024-08-21T09:51:29.427" v="2629" actId="20577"/>
          <ac:spMkLst>
            <pc:docMk/>
            <pc:sldMk cId="2009147110" sldId="272"/>
            <ac:spMk id="12" creationId="{54676348-D246-26BF-47A7-28A42A166B97}"/>
          </ac:spMkLst>
        </pc:spChg>
        <pc:spChg chg="mod">
          <ac:chgData name="Samuel Rintamäki" userId="629c6419-5b68-4ba7-a2c4-1e58a48069f7" providerId="ADAL" clId="{C95C22F4-647C-4C0B-B23C-6DC1EDE4CEA4}" dt="2024-08-21T09:52:12.681" v="2722" actId="20577"/>
          <ac:spMkLst>
            <pc:docMk/>
            <pc:sldMk cId="2009147110" sldId="272"/>
            <ac:spMk id="13" creationId="{F4F847B0-BF28-D067-899C-AE3D483326C8}"/>
          </ac:spMkLst>
        </pc:spChg>
        <pc:spChg chg="mod">
          <ac:chgData name="Samuel Rintamäki" userId="629c6419-5b68-4ba7-a2c4-1e58a48069f7" providerId="ADAL" clId="{C95C22F4-647C-4C0B-B23C-6DC1EDE4CEA4}" dt="2024-08-29T07:16:43.726" v="8116" actId="20577"/>
          <ac:spMkLst>
            <pc:docMk/>
            <pc:sldMk cId="2009147110" sldId="272"/>
            <ac:spMk id="15" creationId="{8527A019-04AF-BE04-9880-1B07953DB59D}"/>
          </ac:spMkLst>
        </pc:spChg>
        <pc:graphicFrameChg chg="del mod">
          <ac:chgData name="Samuel Rintamäki" userId="629c6419-5b68-4ba7-a2c4-1e58a48069f7" providerId="ADAL" clId="{C95C22F4-647C-4C0B-B23C-6DC1EDE4CEA4}" dt="2024-08-21T09:23:16.371" v="1597" actId="478"/>
          <ac:graphicFrameMkLst>
            <pc:docMk/>
            <pc:sldMk cId="2009147110" sldId="272"/>
            <ac:graphicFrameMk id="10" creationId="{50C5334B-7728-1C01-0DF9-83E7052136D5}"/>
          </ac:graphicFrameMkLst>
        </pc:graphicFrameChg>
        <pc:graphicFrameChg chg="add del mod">
          <ac:chgData name="Samuel Rintamäki" userId="629c6419-5b68-4ba7-a2c4-1e58a48069f7" providerId="ADAL" clId="{C95C22F4-647C-4C0B-B23C-6DC1EDE4CEA4}" dt="2024-08-29T07:16:18.324" v="8101" actId="478"/>
          <ac:graphicFrameMkLst>
            <pc:docMk/>
            <pc:sldMk cId="2009147110" sldId="272"/>
            <ac:graphicFrameMk id="10" creationId="{AAB4439B-DE40-CC79-6029-AEB63D395F42}"/>
          </ac:graphicFrameMkLst>
        </pc:graphicFrameChg>
        <pc:graphicFrameChg chg="del">
          <ac:chgData name="Samuel Rintamäki" userId="629c6419-5b68-4ba7-a2c4-1e58a48069f7" providerId="ADAL" clId="{C95C22F4-647C-4C0B-B23C-6DC1EDE4CEA4}" dt="2024-08-21T09:27:11.782" v="1681" actId="478"/>
          <ac:graphicFrameMkLst>
            <pc:docMk/>
            <pc:sldMk cId="2009147110" sldId="272"/>
            <ac:graphicFrameMk id="11" creationId="{F565D8A6-76D2-6B98-DB84-6CA848E8A2FB}"/>
          </ac:graphicFrameMkLst>
        </pc:graphicFrameChg>
        <pc:graphicFrameChg chg="add mod">
          <ac:chgData name="Samuel Rintamäki" userId="629c6419-5b68-4ba7-a2c4-1e58a48069f7" providerId="ADAL" clId="{C95C22F4-647C-4C0B-B23C-6DC1EDE4CEA4}" dt="2024-08-21T09:22:17.386" v="1592" actId="403"/>
          <ac:graphicFrameMkLst>
            <pc:docMk/>
            <pc:sldMk cId="2009147110" sldId="272"/>
            <ac:graphicFrameMk id="14" creationId="{506C9BAD-525E-47DD-8EA2-381B9001B1A8}"/>
          </ac:graphicFrameMkLst>
        </pc:graphicFrameChg>
        <pc:graphicFrameChg chg="add mod">
          <ac:chgData name="Samuel Rintamäki" userId="629c6419-5b68-4ba7-a2c4-1e58a48069f7" providerId="ADAL" clId="{C95C22F4-647C-4C0B-B23C-6DC1EDE4CEA4}" dt="2024-08-21T09:27:26.164" v="1683" actId="1076"/>
          <ac:graphicFrameMkLst>
            <pc:docMk/>
            <pc:sldMk cId="2009147110" sldId="272"/>
            <ac:graphicFrameMk id="16" creationId="{9A3B392F-D6B0-A2AA-B904-729FBD6133CB}"/>
          </ac:graphicFrameMkLst>
        </pc:graphicFrameChg>
      </pc:sldChg>
      <pc:sldChg chg="addSp delSp modSp mod">
        <pc:chgData name="Samuel Rintamäki" userId="629c6419-5b68-4ba7-a2c4-1e58a48069f7" providerId="ADAL" clId="{C95C22F4-647C-4C0B-B23C-6DC1EDE4CEA4}" dt="2024-08-29T07:34:00.758" v="8119" actId="20577"/>
        <pc:sldMkLst>
          <pc:docMk/>
          <pc:sldMk cId="3026314242" sldId="273"/>
        </pc:sldMkLst>
        <pc:spChg chg="mod">
          <ac:chgData name="Samuel Rintamäki" userId="629c6419-5b68-4ba7-a2c4-1e58a48069f7" providerId="ADAL" clId="{C95C22F4-647C-4C0B-B23C-6DC1EDE4CEA4}" dt="2024-08-29T07:34:00.758" v="8119" actId="20577"/>
          <ac:spMkLst>
            <pc:docMk/>
            <pc:sldMk cId="3026314242" sldId="273"/>
            <ac:spMk id="8" creationId="{74A10508-4726-11E0-EE8A-048130E33896}"/>
          </ac:spMkLst>
        </pc:spChg>
        <pc:spChg chg="del mod">
          <ac:chgData name="Samuel Rintamäki" userId="629c6419-5b68-4ba7-a2c4-1e58a48069f7" providerId="ADAL" clId="{C95C22F4-647C-4C0B-B23C-6DC1EDE4CEA4}" dt="2024-08-23T07:41:47.286" v="7804" actId="478"/>
          <ac:spMkLst>
            <pc:docMk/>
            <pc:sldMk cId="3026314242" sldId="273"/>
            <ac:spMk id="10" creationId="{79958614-B3A9-4E32-677C-81F194C4F881}"/>
          </ac:spMkLst>
        </pc:spChg>
        <pc:spChg chg="mod">
          <ac:chgData name="Samuel Rintamäki" userId="629c6419-5b68-4ba7-a2c4-1e58a48069f7" providerId="ADAL" clId="{C95C22F4-647C-4C0B-B23C-6DC1EDE4CEA4}" dt="2024-08-23T07:41:11.027" v="7803" actId="20577"/>
          <ac:spMkLst>
            <pc:docMk/>
            <pc:sldMk cId="3026314242" sldId="273"/>
            <ac:spMk id="12" creationId="{54676348-D246-26BF-47A7-28A42A166B97}"/>
          </ac:spMkLst>
        </pc:spChg>
        <pc:spChg chg="mod">
          <ac:chgData name="Samuel Rintamäki" userId="629c6419-5b68-4ba7-a2c4-1e58a48069f7" providerId="ADAL" clId="{C95C22F4-647C-4C0B-B23C-6DC1EDE4CEA4}" dt="2024-08-23T07:30:24.095" v="7233" actId="20577"/>
          <ac:spMkLst>
            <pc:docMk/>
            <pc:sldMk cId="3026314242" sldId="273"/>
            <ac:spMk id="16" creationId="{D84090F2-88BC-8B9A-A403-1B57A1BEE8D4}"/>
          </ac:spMkLst>
        </pc:spChg>
        <pc:graphicFrameChg chg="del">
          <ac:chgData name="Samuel Rintamäki" userId="629c6419-5b68-4ba7-a2c4-1e58a48069f7" providerId="ADAL" clId="{C95C22F4-647C-4C0B-B23C-6DC1EDE4CEA4}" dt="2024-08-23T07:21:35.594" v="7189" actId="478"/>
          <ac:graphicFrameMkLst>
            <pc:docMk/>
            <pc:sldMk cId="3026314242" sldId="273"/>
            <ac:graphicFrameMk id="7" creationId="{6D11295D-FE02-0B7D-4F2C-4A243616D91E}"/>
          </ac:graphicFrameMkLst>
        </pc:graphicFrameChg>
        <pc:graphicFrameChg chg="add mod">
          <ac:chgData name="Samuel Rintamäki" userId="629c6419-5b68-4ba7-a2c4-1e58a48069f7" providerId="ADAL" clId="{C95C22F4-647C-4C0B-B23C-6DC1EDE4CEA4}" dt="2024-08-23T07:21:38.392" v="7190" actId="1076"/>
          <ac:graphicFrameMkLst>
            <pc:docMk/>
            <pc:sldMk cId="3026314242" sldId="273"/>
            <ac:graphicFrameMk id="11" creationId="{379AA8CA-829C-A788-B7BF-954B792064C1}"/>
          </ac:graphicFrameMkLst>
        </pc:graphicFrameChg>
      </pc:sldChg>
      <pc:sldChg chg="addSp delSp modSp mod">
        <pc:chgData name="Samuel Rintamäki" userId="629c6419-5b68-4ba7-a2c4-1e58a48069f7" providerId="ADAL" clId="{C95C22F4-647C-4C0B-B23C-6DC1EDE4CEA4}" dt="2024-08-29T07:42:30.385" v="8120" actId="1957"/>
        <pc:sldMkLst>
          <pc:docMk/>
          <pc:sldMk cId="3050542010" sldId="274"/>
        </pc:sldMkLst>
        <pc:spChg chg="del mod">
          <ac:chgData name="Samuel Rintamäki" userId="629c6419-5b68-4ba7-a2c4-1e58a48069f7" providerId="ADAL" clId="{C95C22F4-647C-4C0B-B23C-6DC1EDE4CEA4}" dt="2024-08-21T09:34:43.756" v="1868" actId="478"/>
          <ac:spMkLst>
            <pc:docMk/>
            <pc:sldMk cId="3050542010" sldId="274"/>
            <ac:spMk id="7" creationId="{1243E313-BD7A-1459-A0C9-EA2331F95D4F}"/>
          </ac:spMkLst>
        </pc:spChg>
        <pc:spChg chg="mod">
          <ac:chgData name="Samuel Rintamäki" userId="629c6419-5b68-4ba7-a2c4-1e58a48069f7" providerId="ADAL" clId="{C95C22F4-647C-4C0B-B23C-6DC1EDE4CEA4}" dt="2024-08-29T05:28:20.165" v="8055" actId="20577"/>
          <ac:spMkLst>
            <pc:docMk/>
            <pc:sldMk cId="3050542010" sldId="274"/>
            <ac:spMk id="8" creationId="{74A10508-4726-11E0-EE8A-048130E33896}"/>
          </ac:spMkLst>
        </pc:spChg>
        <pc:spChg chg="mod">
          <ac:chgData name="Samuel Rintamäki" userId="629c6419-5b68-4ba7-a2c4-1e58a48069f7" providerId="ADAL" clId="{C95C22F4-647C-4C0B-B23C-6DC1EDE4CEA4}" dt="2024-08-23T06:01:27.461" v="6260" actId="108"/>
          <ac:spMkLst>
            <pc:docMk/>
            <pc:sldMk cId="3050542010" sldId="274"/>
            <ac:spMk id="12" creationId="{54676348-D246-26BF-47A7-28A42A166B97}"/>
          </ac:spMkLst>
        </pc:spChg>
        <pc:spChg chg="add mod">
          <ac:chgData name="Samuel Rintamäki" userId="629c6419-5b68-4ba7-a2c4-1e58a48069f7" providerId="ADAL" clId="{C95C22F4-647C-4C0B-B23C-6DC1EDE4CEA4}" dt="2024-08-21T07:17:27.842" v="345" actId="1076"/>
          <ac:spMkLst>
            <pc:docMk/>
            <pc:sldMk cId="3050542010" sldId="274"/>
            <ac:spMk id="17" creationId="{561483CC-5D9D-21CE-FBB5-D7B7CF41D9DA}"/>
          </ac:spMkLst>
        </pc:spChg>
        <pc:spChg chg="add mod">
          <ac:chgData name="Samuel Rintamäki" userId="629c6419-5b68-4ba7-a2c4-1e58a48069f7" providerId="ADAL" clId="{C95C22F4-647C-4C0B-B23C-6DC1EDE4CEA4}" dt="2024-08-21T07:17:56.709" v="356" actId="20577"/>
          <ac:spMkLst>
            <pc:docMk/>
            <pc:sldMk cId="3050542010" sldId="274"/>
            <ac:spMk id="18" creationId="{4066EC5B-BA2F-23CE-CEE2-78E81EB02B92}"/>
          </ac:spMkLst>
        </pc:spChg>
        <pc:spChg chg="add mod">
          <ac:chgData name="Samuel Rintamäki" userId="629c6419-5b68-4ba7-a2c4-1e58a48069f7" providerId="ADAL" clId="{C95C22F4-647C-4C0B-B23C-6DC1EDE4CEA4}" dt="2024-08-21T07:18:35.049" v="380" actId="20577"/>
          <ac:spMkLst>
            <pc:docMk/>
            <pc:sldMk cId="3050542010" sldId="274"/>
            <ac:spMk id="19" creationId="{1E688478-0942-6B18-D114-6072469D55C9}"/>
          </ac:spMkLst>
        </pc:spChg>
        <pc:spChg chg="add mod">
          <ac:chgData name="Samuel Rintamäki" userId="629c6419-5b68-4ba7-a2c4-1e58a48069f7" providerId="ADAL" clId="{C95C22F4-647C-4C0B-B23C-6DC1EDE4CEA4}" dt="2024-08-21T07:18:22.267" v="378" actId="1076"/>
          <ac:spMkLst>
            <pc:docMk/>
            <pc:sldMk cId="3050542010" sldId="274"/>
            <ac:spMk id="20" creationId="{EC36185E-42E8-0DC7-C524-C095272BEDF5}"/>
          </ac:spMkLst>
        </pc:spChg>
        <pc:spChg chg="add del mod">
          <ac:chgData name="Samuel Rintamäki" userId="629c6419-5b68-4ba7-a2c4-1e58a48069f7" providerId="ADAL" clId="{C95C22F4-647C-4C0B-B23C-6DC1EDE4CEA4}" dt="2024-08-21T07:41:33.592" v="1349" actId="478"/>
          <ac:spMkLst>
            <pc:docMk/>
            <pc:sldMk cId="3050542010" sldId="274"/>
            <ac:spMk id="21" creationId="{B70FDB33-2278-4105-AC73-2D3CC51EA358}"/>
          </ac:spMkLst>
        </pc:spChg>
        <pc:graphicFrameChg chg="del mod">
          <ac:chgData name="Samuel Rintamäki" userId="629c6419-5b68-4ba7-a2c4-1e58a48069f7" providerId="ADAL" clId="{C95C22F4-647C-4C0B-B23C-6DC1EDE4CEA4}" dt="2024-08-21T07:50:39.935" v="1427" actId="478"/>
          <ac:graphicFrameMkLst>
            <pc:docMk/>
            <pc:sldMk cId="3050542010" sldId="274"/>
            <ac:graphicFrameMk id="10" creationId="{20010DBF-D246-2F4B-D90A-BFAD1CBA07A4}"/>
          </ac:graphicFrameMkLst>
        </pc:graphicFrameChg>
        <pc:graphicFrameChg chg="add mod">
          <ac:chgData name="Samuel Rintamäki" userId="629c6419-5b68-4ba7-a2c4-1e58a48069f7" providerId="ADAL" clId="{C95C22F4-647C-4C0B-B23C-6DC1EDE4CEA4}" dt="2024-08-29T07:42:30.385" v="8120" actId="1957"/>
          <ac:graphicFrameMkLst>
            <pc:docMk/>
            <pc:sldMk cId="3050542010" sldId="274"/>
            <ac:graphicFrameMk id="13" creationId="{E5E8F5BD-3FC2-DF6A-1AA4-B139E1A0DDFD}"/>
          </ac:graphicFrameMkLst>
        </pc:graphicFrameChg>
        <pc:graphicFrameChg chg="del mod">
          <ac:chgData name="Samuel Rintamäki" userId="629c6419-5b68-4ba7-a2c4-1e58a48069f7" providerId="ADAL" clId="{C95C22F4-647C-4C0B-B23C-6DC1EDE4CEA4}" dt="2024-08-21T07:15:45.383" v="309" actId="478"/>
          <ac:graphicFrameMkLst>
            <pc:docMk/>
            <pc:sldMk cId="3050542010" sldId="274"/>
            <ac:graphicFrameMk id="14" creationId="{86193A0A-1858-5687-6427-2FD1D734BB9F}"/>
          </ac:graphicFrameMkLst>
        </pc:graphicFrameChg>
        <pc:graphicFrameChg chg="add mod">
          <ac:chgData name="Samuel Rintamäki" userId="629c6419-5b68-4ba7-a2c4-1e58a48069f7" providerId="ADAL" clId="{C95C22F4-647C-4C0B-B23C-6DC1EDE4CEA4}" dt="2024-08-21T07:50:51.358" v="1429" actId="1076"/>
          <ac:graphicFrameMkLst>
            <pc:docMk/>
            <pc:sldMk cId="3050542010" sldId="274"/>
            <ac:graphicFrameMk id="15" creationId="{FF46B898-49D4-111C-62CC-0FD7E682C7CB}"/>
          </ac:graphicFrameMkLst>
        </pc:graphicFrameChg>
        <pc:cxnChg chg="add del mod">
          <ac:chgData name="Samuel Rintamäki" userId="629c6419-5b68-4ba7-a2c4-1e58a48069f7" providerId="ADAL" clId="{C95C22F4-647C-4C0B-B23C-6DC1EDE4CEA4}" dt="2024-08-21T08:51:39.736" v="1457" actId="1038"/>
          <ac:cxnSpMkLst>
            <pc:docMk/>
            <pc:sldMk cId="3050542010" sldId="274"/>
            <ac:cxnSpMk id="28" creationId="{42B6FC7C-A2A4-A10B-58B8-67D5DB9D3EDF}"/>
          </ac:cxnSpMkLst>
        </pc:cxnChg>
        <pc:cxnChg chg="mod">
          <ac:chgData name="Samuel Rintamäki" userId="629c6419-5b68-4ba7-a2c4-1e58a48069f7" providerId="ADAL" clId="{C95C22F4-647C-4C0B-B23C-6DC1EDE4CEA4}" dt="2024-08-21T07:52:13.935" v="1438" actId="1076"/>
          <ac:cxnSpMkLst>
            <pc:docMk/>
            <pc:sldMk cId="3050542010" sldId="274"/>
            <ac:cxnSpMk id="30" creationId="{17E22485-7AFD-EFAD-E346-8EEC5BE5C0D0}"/>
          </ac:cxnSpMkLst>
        </pc:cxnChg>
        <pc:cxnChg chg="mod">
          <ac:chgData name="Samuel Rintamäki" userId="629c6419-5b68-4ba7-a2c4-1e58a48069f7" providerId="ADAL" clId="{C95C22F4-647C-4C0B-B23C-6DC1EDE4CEA4}" dt="2024-08-21T08:50:42.631" v="1446" actId="14100"/>
          <ac:cxnSpMkLst>
            <pc:docMk/>
            <pc:sldMk cId="3050542010" sldId="274"/>
            <ac:cxnSpMk id="31" creationId="{6740B497-2DA0-85BA-50F4-DB4093AFE2C0}"/>
          </ac:cxnSpMkLst>
        </pc:cxnChg>
        <pc:cxnChg chg="mod">
          <ac:chgData name="Samuel Rintamäki" userId="629c6419-5b68-4ba7-a2c4-1e58a48069f7" providerId="ADAL" clId="{C95C22F4-647C-4C0B-B23C-6DC1EDE4CEA4}" dt="2024-08-21T08:51:44.749" v="1458" actId="1035"/>
          <ac:cxnSpMkLst>
            <pc:docMk/>
            <pc:sldMk cId="3050542010" sldId="274"/>
            <ac:cxnSpMk id="37" creationId="{A403D57D-E7C5-DC3E-7F6E-465AFF004E7C}"/>
          </ac:cxnSpMkLst>
        </pc:cxnChg>
      </pc:sldChg>
      <pc:sldChg chg="mod modShow">
        <pc:chgData name="Samuel Rintamäki" userId="629c6419-5b68-4ba7-a2c4-1e58a48069f7" providerId="ADAL" clId="{C95C22F4-647C-4C0B-B23C-6DC1EDE4CEA4}" dt="2024-08-21T05:25:14.767" v="0" actId="729"/>
        <pc:sldMkLst>
          <pc:docMk/>
          <pc:sldMk cId="1724167759" sldId="275"/>
        </pc:sldMkLst>
      </pc:sldChg>
      <pc:sldChg chg="addSp delSp modSp mod">
        <pc:chgData name="Samuel Rintamäki" userId="629c6419-5b68-4ba7-a2c4-1e58a48069f7" providerId="ADAL" clId="{C95C22F4-647C-4C0B-B23C-6DC1EDE4CEA4}" dt="2024-08-21T09:34:41.168" v="1866" actId="478"/>
        <pc:sldMkLst>
          <pc:docMk/>
          <pc:sldMk cId="249603196" sldId="277"/>
        </pc:sldMkLst>
        <pc:spChg chg="del">
          <ac:chgData name="Samuel Rintamäki" userId="629c6419-5b68-4ba7-a2c4-1e58a48069f7" providerId="ADAL" clId="{C95C22F4-647C-4C0B-B23C-6DC1EDE4CEA4}" dt="2024-08-21T06:53:42.019" v="200" actId="478"/>
          <ac:spMkLst>
            <pc:docMk/>
            <pc:sldMk cId="249603196" sldId="277"/>
            <ac:spMk id="7" creationId="{0E70EBF5-EF6F-B4BB-25DB-836ED197743E}"/>
          </ac:spMkLst>
        </pc:spChg>
        <pc:spChg chg="mod">
          <ac:chgData name="Samuel Rintamäki" userId="629c6419-5b68-4ba7-a2c4-1e58a48069f7" providerId="ADAL" clId="{C95C22F4-647C-4C0B-B23C-6DC1EDE4CEA4}" dt="2024-08-21T06:49:55.096" v="151" actId="20577"/>
          <ac:spMkLst>
            <pc:docMk/>
            <pc:sldMk cId="249603196" sldId="277"/>
            <ac:spMk id="8" creationId="{74A10508-4726-11E0-EE8A-048130E33896}"/>
          </ac:spMkLst>
        </pc:spChg>
        <pc:spChg chg="mod">
          <ac:chgData name="Samuel Rintamäki" userId="629c6419-5b68-4ba7-a2c4-1e58a48069f7" providerId="ADAL" clId="{C95C22F4-647C-4C0B-B23C-6DC1EDE4CEA4}" dt="2024-08-21T06:55:30.403" v="217" actId="1076"/>
          <ac:spMkLst>
            <pc:docMk/>
            <pc:sldMk cId="249603196" sldId="277"/>
            <ac:spMk id="30" creationId="{463182B9-4643-3D59-AFDB-E78A4E496120}"/>
          </ac:spMkLst>
        </pc:spChg>
        <pc:spChg chg="mod">
          <ac:chgData name="Samuel Rintamäki" userId="629c6419-5b68-4ba7-a2c4-1e58a48069f7" providerId="ADAL" clId="{C95C22F4-647C-4C0B-B23C-6DC1EDE4CEA4}" dt="2024-08-21T06:44:03.080" v="45" actId="20577"/>
          <ac:spMkLst>
            <pc:docMk/>
            <pc:sldMk cId="249603196" sldId="277"/>
            <ac:spMk id="31" creationId="{6DD89CC2-D2A0-A5C1-E23D-BC13F9DA6C3E}"/>
          </ac:spMkLst>
        </pc:spChg>
        <pc:spChg chg="add del mod">
          <ac:chgData name="Samuel Rintamäki" userId="629c6419-5b68-4ba7-a2c4-1e58a48069f7" providerId="ADAL" clId="{C95C22F4-647C-4C0B-B23C-6DC1EDE4CEA4}" dt="2024-08-21T06:54:57.233" v="208" actId="478"/>
          <ac:spMkLst>
            <pc:docMk/>
            <pc:sldMk cId="249603196" sldId="277"/>
            <ac:spMk id="52" creationId="{BC2802BE-0524-E39C-2BE7-F9145975EF18}"/>
          </ac:spMkLst>
        </pc:spChg>
        <pc:spChg chg="add del mod">
          <ac:chgData name="Samuel Rintamäki" userId="629c6419-5b68-4ba7-a2c4-1e58a48069f7" providerId="ADAL" clId="{C95C22F4-647C-4C0B-B23C-6DC1EDE4CEA4}" dt="2024-08-21T09:34:41.168" v="1866" actId="478"/>
          <ac:spMkLst>
            <pc:docMk/>
            <pc:sldMk cId="249603196" sldId="277"/>
            <ac:spMk id="53" creationId="{DD241470-9B74-1726-D07E-E9C103A152A2}"/>
          </ac:spMkLst>
        </pc:spChg>
        <pc:graphicFrameChg chg="add mod">
          <ac:chgData name="Samuel Rintamäki" userId="629c6419-5b68-4ba7-a2c4-1e58a48069f7" providerId="ADAL" clId="{C95C22F4-647C-4C0B-B23C-6DC1EDE4CEA4}" dt="2024-08-21T06:45:31.583" v="55"/>
          <ac:graphicFrameMkLst>
            <pc:docMk/>
            <pc:sldMk cId="249603196" sldId="277"/>
            <ac:graphicFrameMk id="11" creationId="{4F790125-C604-975E-E5A0-1369EDC799DE}"/>
          </ac:graphicFrameMkLst>
        </pc:graphicFrameChg>
        <pc:graphicFrameChg chg="add mod">
          <ac:chgData name="Samuel Rintamäki" userId="629c6419-5b68-4ba7-a2c4-1e58a48069f7" providerId="ADAL" clId="{C95C22F4-647C-4C0B-B23C-6DC1EDE4CEA4}" dt="2024-08-21T06:45:31.583" v="55"/>
          <ac:graphicFrameMkLst>
            <pc:docMk/>
            <pc:sldMk cId="249603196" sldId="277"/>
            <ac:graphicFrameMk id="12" creationId="{B8551CF9-D46F-6E49-EA60-E395C4A62D1B}"/>
          </ac:graphicFrameMkLst>
        </pc:graphicFrameChg>
        <pc:graphicFrameChg chg="add mod">
          <ac:chgData name="Samuel Rintamäki" userId="629c6419-5b68-4ba7-a2c4-1e58a48069f7" providerId="ADAL" clId="{C95C22F4-647C-4C0B-B23C-6DC1EDE4CEA4}" dt="2024-08-21T06:45:31.583" v="55"/>
          <ac:graphicFrameMkLst>
            <pc:docMk/>
            <pc:sldMk cId="249603196" sldId="277"/>
            <ac:graphicFrameMk id="13" creationId="{F438CE6C-B4CA-DBDF-CD91-F28C8E0C8F6B}"/>
          </ac:graphicFrameMkLst>
        </pc:graphicFrameChg>
        <pc:graphicFrameChg chg="add mod">
          <ac:chgData name="Samuel Rintamäki" userId="629c6419-5b68-4ba7-a2c4-1e58a48069f7" providerId="ADAL" clId="{C95C22F4-647C-4C0B-B23C-6DC1EDE4CEA4}" dt="2024-08-21T06:45:31.583" v="55"/>
          <ac:graphicFrameMkLst>
            <pc:docMk/>
            <pc:sldMk cId="249603196" sldId="277"/>
            <ac:graphicFrameMk id="14" creationId="{1A81296E-1BC5-91F3-3791-C9FFD3675F80}"/>
          </ac:graphicFrameMkLst>
        </pc:graphicFrameChg>
        <pc:graphicFrameChg chg="add mod">
          <ac:chgData name="Samuel Rintamäki" userId="629c6419-5b68-4ba7-a2c4-1e58a48069f7" providerId="ADAL" clId="{C95C22F4-647C-4C0B-B23C-6DC1EDE4CEA4}" dt="2024-08-21T06:45:31.583" v="55"/>
          <ac:graphicFrameMkLst>
            <pc:docMk/>
            <pc:sldMk cId="249603196" sldId="277"/>
            <ac:graphicFrameMk id="15" creationId="{F85FF5F5-F77B-B7CE-025C-3EEC9E248C32}"/>
          </ac:graphicFrameMkLst>
        </pc:graphicFrameChg>
        <pc:graphicFrameChg chg="add mod">
          <ac:chgData name="Samuel Rintamäki" userId="629c6419-5b68-4ba7-a2c4-1e58a48069f7" providerId="ADAL" clId="{C95C22F4-647C-4C0B-B23C-6DC1EDE4CEA4}" dt="2024-08-21T06:45:31.583" v="55"/>
          <ac:graphicFrameMkLst>
            <pc:docMk/>
            <pc:sldMk cId="249603196" sldId="277"/>
            <ac:graphicFrameMk id="18" creationId="{7223140F-3F13-30E7-D6EB-BE47530D5A68}"/>
          </ac:graphicFrameMkLst>
        </pc:graphicFrameChg>
        <pc:graphicFrameChg chg="add mod">
          <ac:chgData name="Samuel Rintamäki" userId="629c6419-5b68-4ba7-a2c4-1e58a48069f7" providerId="ADAL" clId="{C95C22F4-647C-4C0B-B23C-6DC1EDE4CEA4}" dt="2024-08-21T06:53:32.367" v="199" actId="554"/>
          <ac:graphicFrameMkLst>
            <pc:docMk/>
            <pc:sldMk cId="249603196" sldId="277"/>
            <ac:graphicFrameMk id="19" creationId="{4F790125-C604-975E-E5A0-1369EDC799DE}"/>
          </ac:graphicFrameMkLst>
        </pc:graphicFrameChg>
        <pc:graphicFrameChg chg="del mod">
          <ac:chgData name="Samuel Rintamäki" userId="629c6419-5b68-4ba7-a2c4-1e58a48069f7" providerId="ADAL" clId="{C95C22F4-647C-4C0B-B23C-6DC1EDE4CEA4}" dt="2024-08-21T06:52:39.771" v="188" actId="478"/>
          <ac:graphicFrameMkLst>
            <pc:docMk/>
            <pc:sldMk cId="249603196" sldId="277"/>
            <ac:graphicFrameMk id="20" creationId="{4A56B3DE-430D-892D-282E-42431453C1FE}"/>
          </ac:graphicFrameMkLst>
        </pc:graphicFrameChg>
        <pc:graphicFrameChg chg="del">
          <ac:chgData name="Samuel Rintamäki" userId="629c6419-5b68-4ba7-a2c4-1e58a48069f7" providerId="ADAL" clId="{C95C22F4-647C-4C0B-B23C-6DC1EDE4CEA4}" dt="2024-08-21T06:54:40.876" v="203" actId="478"/>
          <ac:graphicFrameMkLst>
            <pc:docMk/>
            <pc:sldMk cId="249603196" sldId="277"/>
            <ac:graphicFrameMk id="21" creationId="{B8090D38-436D-F71B-5A58-D3465235A7D0}"/>
          </ac:graphicFrameMkLst>
        </pc:graphicFrameChg>
        <pc:graphicFrameChg chg="add mod">
          <ac:chgData name="Samuel Rintamäki" userId="629c6419-5b68-4ba7-a2c4-1e58a48069f7" providerId="ADAL" clId="{C95C22F4-647C-4C0B-B23C-6DC1EDE4CEA4}" dt="2024-08-21T06:56:29.063" v="241"/>
          <ac:graphicFrameMkLst>
            <pc:docMk/>
            <pc:sldMk cId="249603196" sldId="277"/>
            <ac:graphicFrameMk id="22" creationId="{B8551CF9-D46F-6E49-EA60-E395C4A62D1B}"/>
          </ac:graphicFrameMkLst>
        </pc:graphicFrameChg>
        <pc:graphicFrameChg chg="add mod">
          <ac:chgData name="Samuel Rintamäki" userId="629c6419-5b68-4ba7-a2c4-1e58a48069f7" providerId="ADAL" clId="{C95C22F4-647C-4C0B-B23C-6DC1EDE4CEA4}" dt="2024-08-21T06:55:34.538" v="219" actId="1076"/>
          <ac:graphicFrameMkLst>
            <pc:docMk/>
            <pc:sldMk cId="249603196" sldId="277"/>
            <ac:graphicFrameMk id="23" creationId="{F438CE6C-B4CA-DBDF-CD91-F28C8E0C8F6B}"/>
          </ac:graphicFrameMkLst>
        </pc:graphicFrameChg>
        <pc:graphicFrameChg chg="del">
          <ac:chgData name="Samuel Rintamäki" userId="629c6419-5b68-4ba7-a2c4-1e58a48069f7" providerId="ADAL" clId="{C95C22F4-647C-4C0B-B23C-6DC1EDE4CEA4}" dt="2024-08-21T06:52:46.823" v="190" actId="478"/>
          <ac:graphicFrameMkLst>
            <pc:docMk/>
            <pc:sldMk cId="249603196" sldId="277"/>
            <ac:graphicFrameMk id="24" creationId="{07A9A5FC-7A1C-CB3F-C252-718FF3DBA8A3}"/>
          </ac:graphicFrameMkLst>
        </pc:graphicFrameChg>
        <pc:graphicFrameChg chg="del">
          <ac:chgData name="Samuel Rintamäki" userId="629c6419-5b68-4ba7-a2c4-1e58a48069f7" providerId="ADAL" clId="{C95C22F4-647C-4C0B-B23C-6DC1EDE4CEA4}" dt="2024-08-21T06:54:42.381" v="204" actId="478"/>
          <ac:graphicFrameMkLst>
            <pc:docMk/>
            <pc:sldMk cId="249603196" sldId="277"/>
            <ac:graphicFrameMk id="25" creationId="{F0B8CF2E-4C85-FCB2-B83F-58B28B2D5DC3}"/>
          </ac:graphicFrameMkLst>
        </pc:graphicFrameChg>
        <pc:graphicFrameChg chg="add mod">
          <ac:chgData name="Samuel Rintamäki" userId="629c6419-5b68-4ba7-a2c4-1e58a48069f7" providerId="ADAL" clId="{C95C22F4-647C-4C0B-B23C-6DC1EDE4CEA4}" dt="2024-08-21T06:56:02.435" v="223"/>
          <ac:graphicFrameMkLst>
            <pc:docMk/>
            <pc:sldMk cId="249603196" sldId="277"/>
            <ac:graphicFrameMk id="26" creationId="{1A81296E-1BC5-91F3-3791-C9FFD3675F80}"/>
          </ac:graphicFrameMkLst>
        </pc:graphicFrameChg>
        <pc:graphicFrameChg chg="add mod">
          <ac:chgData name="Samuel Rintamäki" userId="629c6419-5b68-4ba7-a2c4-1e58a48069f7" providerId="ADAL" clId="{C95C22F4-647C-4C0B-B23C-6DC1EDE4CEA4}" dt="2024-08-21T06:53:32.367" v="199" actId="554"/>
          <ac:graphicFrameMkLst>
            <pc:docMk/>
            <pc:sldMk cId="249603196" sldId="277"/>
            <ac:graphicFrameMk id="27" creationId="{F85FF5F5-F77B-B7CE-025C-3EEC9E248C32}"/>
          </ac:graphicFrameMkLst>
        </pc:graphicFrameChg>
        <pc:graphicFrameChg chg="del">
          <ac:chgData name="Samuel Rintamäki" userId="629c6419-5b68-4ba7-a2c4-1e58a48069f7" providerId="ADAL" clId="{C95C22F4-647C-4C0B-B23C-6DC1EDE4CEA4}" dt="2024-08-21T06:52:48.900" v="191" actId="478"/>
          <ac:graphicFrameMkLst>
            <pc:docMk/>
            <pc:sldMk cId="249603196" sldId="277"/>
            <ac:graphicFrameMk id="28" creationId="{D0260ACE-D759-7352-93A6-DE0BC9A67D4A}"/>
          </ac:graphicFrameMkLst>
        </pc:graphicFrameChg>
        <pc:graphicFrameChg chg="del">
          <ac:chgData name="Samuel Rintamäki" userId="629c6419-5b68-4ba7-a2c4-1e58a48069f7" providerId="ADAL" clId="{C95C22F4-647C-4C0B-B23C-6DC1EDE4CEA4}" dt="2024-08-21T06:54:43.329" v="205" actId="478"/>
          <ac:graphicFrameMkLst>
            <pc:docMk/>
            <pc:sldMk cId="249603196" sldId="277"/>
            <ac:graphicFrameMk id="29" creationId="{97DA2825-64DD-32F3-27B5-290B52DC2C46}"/>
          </ac:graphicFrameMkLst>
        </pc:graphicFrameChg>
        <pc:graphicFrameChg chg="add mod">
          <ac:chgData name="Samuel Rintamäki" userId="629c6419-5b68-4ba7-a2c4-1e58a48069f7" providerId="ADAL" clId="{C95C22F4-647C-4C0B-B23C-6DC1EDE4CEA4}" dt="2024-08-21T06:55:22.570" v="214" actId="1076"/>
          <ac:graphicFrameMkLst>
            <pc:docMk/>
            <pc:sldMk cId="249603196" sldId="277"/>
            <ac:graphicFrameMk id="50" creationId="{7223140F-3F13-30E7-D6EB-BE47530D5A68}"/>
          </ac:graphicFrameMkLst>
        </pc:graphicFrameChg>
        <pc:picChg chg="del">
          <ac:chgData name="Samuel Rintamäki" userId="629c6419-5b68-4ba7-a2c4-1e58a48069f7" providerId="ADAL" clId="{C95C22F4-647C-4C0B-B23C-6DC1EDE4CEA4}" dt="2024-08-21T06:52:45.535" v="189" actId="478"/>
          <ac:picMkLst>
            <pc:docMk/>
            <pc:sldMk cId="249603196" sldId="277"/>
            <ac:picMk id="51" creationId="{952F6BA8-F61D-7082-519C-980C3CB09389}"/>
          </ac:picMkLst>
        </pc:picChg>
      </pc:sldChg>
      <pc:sldChg chg="modSp mod">
        <pc:chgData name="Samuel Rintamäki" userId="629c6419-5b68-4ba7-a2c4-1e58a48069f7" providerId="ADAL" clId="{C95C22F4-647C-4C0B-B23C-6DC1EDE4CEA4}" dt="2024-08-30T11:21:40.200" v="8124" actId="1036"/>
        <pc:sldMkLst>
          <pc:docMk/>
          <pc:sldMk cId="4229664261" sldId="2272"/>
        </pc:sldMkLst>
        <pc:spChg chg="mod">
          <ac:chgData name="Samuel Rintamäki" userId="629c6419-5b68-4ba7-a2c4-1e58a48069f7" providerId="ADAL" clId="{C95C22F4-647C-4C0B-B23C-6DC1EDE4CEA4}" dt="2024-08-30T11:21:40.200" v="8124" actId="1036"/>
          <ac:spMkLst>
            <pc:docMk/>
            <pc:sldMk cId="4229664261" sldId="2272"/>
            <ac:spMk id="15" creationId="{0C346D15-4B1D-F1CB-4687-64E82597FFF5}"/>
          </ac:spMkLst>
        </pc:spChg>
      </pc:sldChg>
      <pc:sldChg chg="modSp mod">
        <pc:chgData name="Samuel Rintamäki" userId="629c6419-5b68-4ba7-a2c4-1e58a48069f7" providerId="ADAL" clId="{C95C22F4-647C-4C0B-B23C-6DC1EDE4CEA4}" dt="2024-08-23T06:09:49.781" v="6308" actId="1076"/>
        <pc:sldMkLst>
          <pc:docMk/>
          <pc:sldMk cId="4103803131" sldId="2307"/>
        </pc:sldMkLst>
        <pc:spChg chg="mod">
          <ac:chgData name="Samuel Rintamäki" userId="629c6419-5b68-4ba7-a2c4-1e58a48069f7" providerId="ADAL" clId="{C95C22F4-647C-4C0B-B23C-6DC1EDE4CEA4}" dt="2024-08-23T06:09:49.781" v="6308" actId="1076"/>
          <ac:spMkLst>
            <pc:docMk/>
            <pc:sldMk cId="4103803131" sldId="2307"/>
            <ac:spMk id="10" creationId="{542F283E-A3A9-F4F9-23E5-F1BDBEA2F0BC}"/>
          </ac:spMkLst>
        </pc:spChg>
      </pc:sldChg>
      <pc:sldChg chg="add del ord setBg">
        <pc:chgData name="Samuel Rintamäki" userId="629c6419-5b68-4ba7-a2c4-1e58a48069f7" providerId="ADAL" clId="{C95C22F4-647C-4C0B-B23C-6DC1EDE4CEA4}" dt="2024-08-23T06:04:26.538" v="6282"/>
        <pc:sldMkLst>
          <pc:docMk/>
          <pc:sldMk cId="1527931958" sldId="2325"/>
        </pc:sldMkLst>
      </pc:sldChg>
      <pc:sldChg chg="add del ord">
        <pc:chgData name="Samuel Rintamäki" userId="629c6419-5b68-4ba7-a2c4-1e58a48069f7" providerId="ADAL" clId="{C95C22F4-647C-4C0B-B23C-6DC1EDE4CEA4}" dt="2024-08-23T06:09:50.775" v="6313" actId="20578"/>
        <pc:sldMkLst>
          <pc:docMk/>
          <pc:sldMk cId="3464739985" sldId="2325"/>
        </pc:sldMkLst>
      </pc:sldChg>
      <pc:sldChg chg="addSp delSp modSp add mod">
        <pc:chgData name="Samuel Rintamäki" userId="629c6419-5b68-4ba7-a2c4-1e58a48069f7" providerId="ADAL" clId="{C95C22F4-647C-4C0B-B23C-6DC1EDE4CEA4}" dt="2024-08-23T08:43:15.964" v="7977" actId="20577"/>
        <pc:sldMkLst>
          <pc:docMk/>
          <pc:sldMk cId="372733365" sldId="2326"/>
        </pc:sldMkLst>
        <pc:spChg chg="mod">
          <ac:chgData name="Samuel Rintamäki" userId="629c6419-5b68-4ba7-a2c4-1e58a48069f7" providerId="ADAL" clId="{C95C22F4-647C-4C0B-B23C-6DC1EDE4CEA4}" dt="2024-08-23T08:43:15.964" v="7977" actId="20577"/>
          <ac:spMkLst>
            <pc:docMk/>
            <pc:sldMk cId="372733365" sldId="2326"/>
            <ac:spMk id="8" creationId="{74A10508-4726-11E0-EE8A-048130E33896}"/>
          </ac:spMkLst>
        </pc:spChg>
        <pc:spChg chg="mod">
          <ac:chgData name="Samuel Rintamäki" userId="629c6419-5b68-4ba7-a2c4-1e58a48069f7" providerId="ADAL" clId="{C95C22F4-647C-4C0B-B23C-6DC1EDE4CEA4}" dt="2024-08-23T08:42:57.430" v="7936" actId="20577"/>
          <ac:spMkLst>
            <pc:docMk/>
            <pc:sldMk cId="372733365" sldId="2326"/>
            <ac:spMk id="9" creationId="{ABD824EA-818A-2135-5900-9AC6EC2417EA}"/>
          </ac:spMkLst>
        </pc:spChg>
        <pc:spChg chg="mod">
          <ac:chgData name="Samuel Rintamäki" userId="629c6419-5b68-4ba7-a2c4-1e58a48069f7" providerId="ADAL" clId="{C95C22F4-647C-4C0B-B23C-6DC1EDE4CEA4}" dt="2024-08-23T08:42:43.325" v="7918" actId="20577"/>
          <ac:spMkLst>
            <pc:docMk/>
            <pc:sldMk cId="372733365" sldId="2326"/>
            <ac:spMk id="10" creationId="{542F283E-A3A9-F4F9-23E5-F1BDBEA2F0BC}"/>
          </ac:spMkLst>
        </pc:spChg>
        <pc:spChg chg="mod">
          <ac:chgData name="Samuel Rintamäki" userId="629c6419-5b68-4ba7-a2c4-1e58a48069f7" providerId="ADAL" clId="{C95C22F4-647C-4C0B-B23C-6DC1EDE4CEA4}" dt="2024-08-23T08:42:47.550" v="7920" actId="6549"/>
          <ac:spMkLst>
            <pc:docMk/>
            <pc:sldMk cId="372733365" sldId="2326"/>
            <ac:spMk id="12" creationId="{54676348-D246-26BF-47A7-28A42A166B97}"/>
          </ac:spMkLst>
        </pc:spChg>
        <pc:graphicFrameChg chg="del">
          <ac:chgData name="Samuel Rintamäki" userId="629c6419-5b68-4ba7-a2c4-1e58a48069f7" providerId="ADAL" clId="{C95C22F4-647C-4C0B-B23C-6DC1EDE4CEA4}" dt="2024-08-23T08:42:45.969" v="7919" actId="478"/>
          <ac:graphicFrameMkLst>
            <pc:docMk/>
            <pc:sldMk cId="372733365" sldId="2326"/>
            <ac:graphicFrameMk id="11" creationId="{A1EFE752-716A-E3AC-9209-8C6FE9EB321C}"/>
          </ac:graphicFrameMkLst>
        </pc:graphicFrameChg>
        <pc:picChg chg="add mod">
          <ac:chgData name="Samuel Rintamäki" userId="629c6419-5b68-4ba7-a2c4-1e58a48069f7" providerId="ADAL" clId="{C95C22F4-647C-4C0B-B23C-6DC1EDE4CEA4}" dt="2024-08-23T08:43:10.362" v="7939" actId="1076"/>
          <ac:picMkLst>
            <pc:docMk/>
            <pc:sldMk cId="372733365" sldId="2326"/>
            <ac:picMk id="14" creationId="{07E21214-65BC-5726-EA67-3A9FAAC49CF0}"/>
          </ac:picMkLst>
        </pc:picChg>
        <pc:picChg chg="del">
          <ac:chgData name="Samuel Rintamäki" userId="629c6419-5b68-4ba7-a2c4-1e58a48069f7" providerId="ADAL" clId="{C95C22F4-647C-4C0B-B23C-6DC1EDE4CEA4}" dt="2024-08-23T08:42:47.904" v="7921" actId="478"/>
          <ac:picMkLst>
            <pc:docMk/>
            <pc:sldMk cId="372733365" sldId="2326"/>
            <ac:picMk id="1026" creationId="{2D84D9C2-5877-2F9B-EF92-B828A7DAFB66}"/>
          </ac:picMkLst>
        </pc:picChg>
      </pc:sldChg>
      <pc:sldChg chg="add del setBg">
        <pc:chgData name="Samuel Rintamäki" userId="629c6419-5b68-4ba7-a2c4-1e58a48069f7" providerId="ADAL" clId="{C95C22F4-647C-4C0B-B23C-6DC1EDE4CEA4}" dt="2024-08-23T08:42:35.488" v="7895"/>
        <pc:sldMkLst>
          <pc:docMk/>
          <pc:sldMk cId="3399975885" sldId="2326"/>
        </pc:sldMkLst>
      </pc:sldChg>
    </pc:docChg>
  </pc:docChgLst>
  <pc:docChgLst>
    <pc:chgData name="Heikki Rannikko" userId="6863426b-2a9f-46d5-8945-a540b46c6536" providerId="ADAL" clId="{671E238F-F1AB-405B-9FD4-D0BF2D424AFA}"/>
    <pc:docChg chg="undo custSel addSld delSld modSld">
      <pc:chgData name="Heikki Rannikko" userId="6863426b-2a9f-46d5-8945-a540b46c6536" providerId="ADAL" clId="{671E238F-F1AB-405B-9FD4-D0BF2D424AFA}" dt="2024-08-29T06:19:05.613" v="251" actId="20577"/>
      <pc:docMkLst>
        <pc:docMk/>
      </pc:docMkLst>
      <pc:sldChg chg="addSp modSp mod">
        <pc:chgData name="Heikki Rannikko" userId="6863426b-2a9f-46d5-8945-a540b46c6536" providerId="ADAL" clId="{671E238F-F1AB-405B-9FD4-D0BF2D424AFA}" dt="2024-08-27T07:25:57.636" v="191"/>
        <pc:sldMkLst>
          <pc:docMk/>
          <pc:sldMk cId="3271234690" sldId="2311"/>
        </pc:sldMkLst>
        <pc:spChg chg="mod">
          <ac:chgData name="Heikki Rannikko" userId="6863426b-2a9f-46d5-8945-a540b46c6536" providerId="ADAL" clId="{671E238F-F1AB-405B-9FD4-D0BF2D424AFA}" dt="2024-08-27T07:06:03.881" v="189" actId="1076"/>
          <ac:spMkLst>
            <pc:docMk/>
            <pc:sldMk cId="3271234690" sldId="2311"/>
            <ac:spMk id="7" creationId="{0227112B-5075-2429-12D3-BD2B8886B6CF}"/>
          </ac:spMkLst>
        </pc:spChg>
        <pc:graphicFrameChg chg="add mod">
          <ac:chgData name="Heikki Rannikko" userId="6863426b-2a9f-46d5-8945-a540b46c6536" providerId="ADAL" clId="{671E238F-F1AB-405B-9FD4-D0BF2D424AFA}" dt="2024-08-27T07:25:57.636" v="191"/>
          <ac:graphicFrameMkLst>
            <pc:docMk/>
            <pc:sldMk cId="3271234690" sldId="2311"/>
            <ac:graphicFrameMk id="8" creationId="{D88C93A0-2B53-09E6-8C56-CD886163F01E}"/>
          </ac:graphicFrameMkLst>
        </pc:graphicFrameChg>
      </pc:sldChg>
      <pc:sldChg chg="modSp mod">
        <pc:chgData name="Heikki Rannikko" userId="6863426b-2a9f-46d5-8945-a540b46c6536" providerId="ADAL" clId="{671E238F-F1AB-405B-9FD4-D0BF2D424AFA}" dt="2024-08-27T06:46:53.690" v="82" actId="1076"/>
        <pc:sldMkLst>
          <pc:docMk/>
          <pc:sldMk cId="873732989" sldId="2313"/>
        </pc:sldMkLst>
        <pc:spChg chg="mod">
          <ac:chgData name="Heikki Rannikko" userId="6863426b-2a9f-46d5-8945-a540b46c6536" providerId="ADAL" clId="{671E238F-F1AB-405B-9FD4-D0BF2D424AFA}" dt="2024-08-27T06:46:53.690" v="82" actId="1076"/>
          <ac:spMkLst>
            <pc:docMk/>
            <pc:sldMk cId="873732989" sldId="2313"/>
            <ac:spMk id="6" creationId="{CE35134B-246D-7CB9-AAAE-59541B2A9DE5}"/>
          </ac:spMkLst>
        </pc:spChg>
      </pc:sldChg>
      <pc:sldChg chg="addSp delSp modSp new del mod modClrScheme chgLayout">
        <pc:chgData name="Heikki Rannikko" userId="6863426b-2a9f-46d5-8945-a540b46c6536" providerId="ADAL" clId="{671E238F-F1AB-405B-9FD4-D0BF2D424AFA}" dt="2024-08-27T06:46:38.668" v="81" actId="47"/>
        <pc:sldMkLst>
          <pc:docMk/>
          <pc:sldMk cId="2399427277" sldId="2327"/>
        </pc:sldMkLst>
        <pc:spChg chg="mod ord">
          <ac:chgData name="Heikki Rannikko" userId="6863426b-2a9f-46d5-8945-a540b46c6536" providerId="ADAL" clId="{671E238F-F1AB-405B-9FD4-D0BF2D424AFA}" dt="2024-08-27T06:38:50.018" v="3" actId="700"/>
          <ac:spMkLst>
            <pc:docMk/>
            <pc:sldMk cId="2399427277" sldId="2327"/>
            <ac:spMk id="2" creationId="{C30A1ADF-6E4C-1A03-7DDF-C391347D8547}"/>
          </ac:spMkLst>
        </pc:spChg>
        <pc:spChg chg="mod ord">
          <ac:chgData name="Heikki Rannikko" userId="6863426b-2a9f-46d5-8945-a540b46c6536" providerId="ADAL" clId="{671E238F-F1AB-405B-9FD4-D0BF2D424AFA}" dt="2024-08-27T06:38:50.018" v="3" actId="700"/>
          <ac:spMkLst>
            <pc:docMk/>
            <pc:sldMk cId="2399427277" sldId="2327"/>
            <ac:spMk id="3" creationId="{192C7B2C-78E5-EF29-889A-99390203880E}"/>
          </ac:spMkLst>
        </pc:spChg>
        <pc:spChg chg="mod ord">
          <ac:chgData name="Heikki Rannikko" userId="6863426b-2a9f-46d5-8945-a540b46c6536" providerId="ADAL" clId="{671E238F-F1AB-405B-9FD4-D0BF2D424AFA}" dt="2024-08-27T06:38:50.018" v="3" actId="700"/>
          <ac:spMkLst>
            <pc:docMk/>
            <pc:sldMk cId="2399427277" sldId="2327"/>
            <ac:spMk id="4" creationId="{BCD870F7-375A-2001-D51E-E0890A5BF915}"/>
          </ac:spMkLst>
        </pc:spChg>
        <pc:spChg chg="del">
          <ac:chgData name="Heikki Rannikko" userId="6863426b-2a9f-46d5-8945-a540b46c6536" providerId="ADAL" clId="{671E238F-F1AB-405B-9FD4-D0BF2D424AFA}" dt="2024-08-27T06:38:44.845" v="1" actId="6264"/>
          <ac:spMkLst>
            <pc:docMk/>
            <pc:sldMk cId="2399427277" sldId="2327"/>
            <ac:spMk id="5" creationId="{2001A1E4-2448-2427-E1DD-B8B16CF656DD}"/>
          </ac:spMkLst>
        </pc:spChg>
        <pc:spChg chg="del">
          <ac:chgData name="Heikki Rannikko" userId="6863426b-2a9f-46d5-8945-a540b46c6536" providerId="ADAL" clId="{671E238F-F1AB-405B-9FD4-D0BF2D424AFA}" dt="2024-08-27T06:38:44.845" v="1" actId="6264"/>
          <ac:spMkLst>
            <pc:docMk/>
            <pc:sldMk cId="2399427277" sldId="2327"/>
            <ac:spMk id="6" creationId="{5CD5061D-16F2-B791-5084-AC393452B161}"/>
          </ac:spMkLst>
        </pc:spChg>
        <pc:spChg chg="del">
          <ac:chgData name="Heikki Rannikko" userId="6863426b-2a9f-46d5-8945-a540b46c6536" providerId="ADAL" clId="{671E238F-F1AB-405B-9FD4-D0BF2D424AFA}" dt="2024-08-27T06:38:44.845" v="1" actId="6264"/>
          <ac:spMkLst>
            <pc:docMk/>
            <pc:sldMk cId="2399427277" sldId="2327"/>
            <ac:spMk id="7" creationId="{4E654FAD-677A-CB18-EB0E-33B98AC01FF9}"/>
          </ac:spMkLst>
        </pc:spChg>
        <pc:spChg chg="add del mod">
          <ac:chgData name="Heikki Rannikko" userId="6863426b-2a9f-46d5-8945-a540b46c6536" providerId="ADAL" clId="{671E238F-F1AB-405B-9FD4-D0BF2D424AFA}" dt="2024-08-27T06:38:44.845" v="1" actId="6264"/>
          <ac:spMkLst>
            <pc:docMk/>
            <pc:sldMk cId="2399427277" sldId="2327"/>
            <ac:spMk id="8" creationId="{01A1C249-4F24-CB18-94B7-D8F7C4A37F93}"/>
          </ac:spMkLst>
        </pc:spChg>
        <pc:spChg chg="add del mod">
          <ac:chgData name="Heikki Rannikko" userId="6863426b-2a9f-46d5-8945-a540b46c6536" providerId="ADAL" clId="{671E238F-F1AB-405B-9FD4-D0BF2D424AFA}" dt="2024-08-27T06:38:44.845" v="1" actId="6264"/>
          <ac:spMkLst>
            <pc:docMk/>
            <pc:sldMk cId="2399427277" sldId="2327"/>
            <ac:spMk id="9" creationId="{A200F5B4-54CB-75AC-BA29-18339C25B3D9}"/>
          </ac:spMkLst>
        </pc:spChg>
        <pc:spChg chg="add del mod">
          <ac:chgData name="Heikki Rannikko" userId="6863426b-2a9f-46d5-8945-a540b46c6536" providerId="ADAL" clId="{671E238F-F1AB-405B-9FD4-D0BF2D424AFA}" dt="2024-08-27T06:38:44.845" v="1" actId="6264"/>
          <ac:spMkLst>
            <pc:docMk/>
            <pc:sldMk cId="2399427277" sldId="2327"/>
            <ac:spMk id="10" creationId="{80F08F86-1C4A-08B7-A754-B32D23081666}"/>
          </ac:spMkLst>
        </pc:spChg>
        <pc:spChg chg="add del mod ord">
          <ac:chgData name="Heikki Rannikko" userId="6863426b-2a9f-46d5-8945-a540b46c6536" providerId="ADAL" clId="{671E238F-F1AB-405B-9FD4-D0BF2D424AFA}" dt="2024-08-27T06:38:50.018" v="3" actId="700"/>
          <ac:spMkLst>
            <pc:docMk/>
            <pc:sldMk cId="2399427277" sldId="2327"/>
            <ac:spMk id="11" creationId="{9D0DEDEF-3B25-97FD-6F3E-6DBA55B8E6C7}"/>
          </ac:spMkLst>
        </pc:spChg>
        <pc:spChg chg="add del mod ord">
          <ac:chgData name="Heikki Rannikko" userId="6863426b-2a9f-46d5-8945-a540b46c6536" providerId="ADAL" clId="{671E238F-F1AB-405B-9FD4-D0BF2D424AFA}" dt="2024-08-27T06:38:50.018" v="3" actId="700"/>
          <ac:spMkLst>
            <pc:docMk/>
            <pc:sldMk cId="2399427277" sldId="2327"/>
            <ac:spMk id="12" creationId="{1CA28D19-8579-DFB9-1F01-D3CE970C7118}"/>
          </ac:spMkLst>
        </pc:spChg>
        <pc:spChg chg="add del mod ord">
          <ac:chgData name="Heikki Rannikko" userId="6863426b-2a9f-46d5-8945-a540b46c6536" providerId="ADAL" clId="{671E238F-F1AB-405B-9FD4-D0BF2D424AFA}" dt="2024-08-27T06:38:50.018" v="3" actId="700"/>
          <ac:spMkLst>
            <pc:docMk/>
            <pc:sldMk cId="2399427277" sldId="2327"/>
            <ac:spMk id="13" creationId="{00E85770-AB2D-4562-E9CE-7360E3C22E8F}"/>
          </ac:spMkLst>
        </pc:spChg>
        <pc:spChg chg="add mod ord">
          <ac:chgData name="Heikki Rannikko" userId="6863426b-2a9f-46d5-8945-a540b46c6536" providerId="ADAL" clId="{671E238F-F1AB-405B-9FD4-D0BF2D424AFA}" dt="2024-08-27T06:38:50.018" v="3" actId="700"/>
          <ac:spMkLst>
            <pc:docMk/>
            <pc:sldMk cId="2399427277" sldId="2327"/>
            <ac:spMk id="14" creationId="{DCBD20C8-1391-033B-AD7F-86641D3C7F8B}"/>
          </ac:spMkLst>
        </pc:spChg>
        <pc:spChg chg="add mod ord">
          <ac:chgData name="Heikki Rannikko" userId="6863426b-2a9f-46d5-8945-a540b46c6536" providerId="ADAL" clId="{671E238F-F1AB-405B-9FD4-D0BF2D424AFA}" dt="2024-08-27T06:38:50.039" v="4" actId="27636"/>
          <ac:spMkLst>
            <pc:docMk/>
            <pc:sldMk cId="2399427277" sldId="2327"/>
            <ac:spMk id="15" creationId="{06960ED0-73E5-4D8C-EFE4-6974FB4E14D4}"/>
          </ac:spMkLst>
        </pc:spChg>
        <pc:spChg chg="add mod ord">
          <ac:chgData name="Heikki Rannikko" userId="6863426b-2a9f-46d5-8945-a540b46c6536" providerId="ADAL" clId="{671E238F-F1AB-405B-9FD4-D0BF2D424AFA}" dt="2024-08-27T06:38:50.018" v="3" actId="700"/>
          <ac:spMkLst>
            <pc:docMk/>
            <pc:sldMk cId="2399427277" sldId="2327"/>
            <ac:spMk id="16" creationId="{112197C7-A0F3-5A2D-493B-E670FD8F00A1}"/>
          </ac:spMkLst>
        </pc:spChg>
        <pc:spChg chg="add del mod ord">
          <ac:chgData name="Heikki Rannikko" userId="6863426b-2a9f-46d5-8945-a540b46c6536" providerId="ADAL" clId="{671E238F-F1AB-405B-9FD4-D0BF2D424AFA}" dt="2024-08-27T06:39:37.952" v="9"/>
          <ac:spMkLst>
            <pc:docMk/>
            <pc:sldMk cId="2399427277" sldId="2327"/>
            <ac:spMk id="17" creationId="{3F827D17-9496-001F-0BDC-28EE1E4BAC19}"/>
          </ac:spMkLst>
        </pc:spChg>
        <pc:graphicFrameChg chg="add mod">
          <ac:chgData name="Heikki Rannikko" userId="6863426b-2a9f-46d5-8945-a540b46c6536" providerId="ADAL" clId="{671E238F-F1AB-405B-9FD4-D0BF2D424AFA}" dt="2024-08-27T06:39:37.877" v="8"/>
          <ac:graphicFrameMkLst>
            <pc:docMk/>
            <pc:sldMk cId="2399427277" sldId="2327"/>
            <ac:graphicFrameMk id="18" creationId="{A1EFE752-716A-E3AC-9209-8C6FE9EB321C}"/>
          </ac:graphicFrameMkLst>
        </pc:graphicFrameChg>
        <pc:graphicFrameChg chg="add mod">
          <ac:chgData name="Heikki Rannikko" userId="6863426b-2a9f-46d5-8945-a540b46c6536" providerId="ADAL" clId="{671E238F-F1AB-405B-9FD4-D0BF2D424AFA}" dt="2024-08-27T06:39:37.952" v="9"/>
          <ac:graphicFrameMkLst>
            <pc:docMk/>
            <pc:sldMk cId="2399427277" sldId="2327"/>
            <ac:graphicFrameMk id="19" creationId="{A1EFE752-716A-E3AC-9209-8C6FE9EB321C}"/>
          </ac:graphicFrameMkLst>
        </pc:graphicFrameChg>
      </pc:sldChg>
      <pc:sldChg chg="new del">
        <pc:chgData name="Heikki Rannikko" userId="6863426b-2a9f-46d5-8945-a540b46c6536" providerId="ADAL" clId="{671E238F-F1AB-405B-9FD4-D0BF2D424AFA}" dt="2024-08-27T06:40:03.150" v="11" actId="680"/>
        <pc:sldMkLst>
          <pc:docMk/>
          <pc:sldMk cId="576425281" sldId="2328"/>
        </pc:sldMkLst>
      </pc:sldChg>
      <pc:sldChg chg="addSp delSp modSp mod">
        <pc:chgData name="Heikki Rannikko" userId="6863426b-2a9f-46d5-8945-a540b46c6536" providerId="ADAL" clId="{671E238F-F1AB-405B-9FD4-D0BF2D424AFA}" dt="2024-08-27T06:46:32.933" v="80" actId="5793"/>
        <pc:sldMkLst>
          <pc:docMk/>
          <pc:sldMk cId="3458573582" sldId="2328"/>
        </pc:sldMkLst>
        <pc:spChg chg="add del">
          <ac:chgData name="Heikki Rannikko" userId="6863426b-2a9f-46d5-8945-a540b46c6536" providerId="ADAL" clId="{671E238F-F1AB-405B-9FD4-D0BF2D424AFA}" dt="2024-08-27T06:43:42.838" v="23" actId="478"/>
          <ac:spMkLst>
            <pc:docMk/>
            <pc:sldMk cId="3458573582" sldId="2328"/>
            <ac:spMk id="7" creationId="{23C0554B-8488-16D9-393D-835FE0389727}"/>
          </ac:spMkLst>
        </pc:spChg>
        <pc:spChg chg="mod">
          <ac:chgData name="Heikki Rannikko" userId="6863426b-2a9f-46d5-8945-a540b46c6536" providerId="ADAL" clId="{671E238F-F1AB-405B-9FD4-D0BF2D424AFA}" dt="2024-08-27T06:45:57.195" v="49" actId="20577"/>
          <ac:spMkLst>
            <pc:docMk/>
            <pc:sldMk cId="3458573582" sldId="2328"/>
            <ac:spMk id="8" creationId="{74A10508-4726-11E0-EE8A-048130E33896}"/>
          </ac:spMkLst>
        </pc:spChg>
        <pc:spChg chg="mod">
          <ac:chgData name="Heikki Rannikko" userId="6863426b-2a9f-46d5-8945-a540b46c6536" providerId="ADAL" clId="{671E238F-F1AB-405B-9FD4-D0BF2D424AFA}" dt="2024-08-27T06:46:32.933" v="80" actId="5793"/>
          <ac:spMkLst>
            <pc:docMk/>
            <pc:sldMk cId="3458573582" sldId="2328"/>
            <ac:spMk id="10" creationId="{542F283E-A3A9-F4F9-23E5-F1BDBEA2F0BC}"/>
          </ac:spMkLst>
        </pc:spChg>
        <pc:spChg chg="mod">
          <ac:chgData name="Heikki Rannikko" userId="6863426b-2a9f-46d5-8945-a540b46c6536" providerId="ADAL" clId="{671E238F-F1AB-405B-9FD4-D0BF2D424AFA}" dt="2024-08-27T06:46:18.388" v="58" actId="13926"/>
          <ac:spMkLst>
            <pc:docMk/>
            <pc:sldMk cId="3458573582" sldId="2328"/>
            <ac:spMk id="12" creationId="{54676348-D246-26BF-47A7-28A42A166B97}"/>
          </ac:spMkLst>
        </pc:spChg>
        <pc:graphicFrameChg chg="del">
          <ac:chgData name="Heikki Rannikko" userId="6863426b-2a9f-46d5-8945-a540b46c6536" providerId="ADAL" clId="{671E238F-F1AB-405B-9FD4-D0BF2D424AFA}" dt="2024-08-27T06:40:09.407" v="12" actId="478"/>
          <ac:graphicFrameMkLst>
            <pc:docMk/>
            <pc:sldMk cId="3458573582" sldId="2328"/>
            <ac:graphicFrameMk id="11" creationId="{A1EFE752-716A-E3AC-9209-8C6FE9EB321C}"/>
          </ac:graphicFrameMkLst>
        </pc:graphicFrameChg>
        <pc:graphicFrameChg chg="add mod">
          <ac:chgData name="Heikki Rannikko" userId="6863426b-2a9f-46d5-8945-a540b46c6536" providerId="ADAL" clId="{671E238F-F1AB-405B-9FD4-D0BF2D424AFA}" dt="2024-08-27T06:40:18.902" v="13"/>
          <ac:graphicFrameMkLst>
            <pc:docMk/>
            <pc:sldMk cId="3458573582" sldId="2328"/>
            <ac:graphicFrameMk id="13" creationId="{C596E05D-435E-081E-501C-0C668A1D8B6A}"/>
          </ac:graphicFrameMkLst>
        </pc:graphicFrameChg>
        <pc:graphicFrameChg chg="add mod">
          <ac:chgData name="Heikki Rannikko" userId="6863426b-2a9f-46d5-8945-a540b46c6536" providerId="ADAL" clId="{671E238F-F1AB-405B-9FD4-D0BF2D424AFA}" dt="2024-08-27T06:40:43.878" v="18" actId="14100"/>
          <ac:graphicFrameMkLst>
            <pc:docMk/>
            <pc:sldMk cId="3458573582" sldId="2328"/>
            <ac:graphicFrameMk id="16" creationId="{5A2A63B4-BB9B-8FCD-ED01-70EEB978BF85}"/>
          </ac:graphicFrameMkLst>
        </pc:graphicFrameChg>
        <pc:picChg chg="add">
          <ac:chgData name="Heikki Rannikko" userId="6863426b-2a9f-46d5-8945-a540b46c6536" providerId="ADAL" clId="{671E238F-F1AB-405B-9FD4-D0BF2D424AFA}" dt="2024-08-27T06:40:23.265" v="14"/>
          <ac:picMkLst>
            <pc:docMk/>
            <pc:sldMk cId="3458573582" sldId="2328"/>
            <ac:picMk id="14" creationId="{AF05B555-AEB2-7F4C-C153-004A768AD3F9}"/>
          </ac:picMkLst>
        </pc:picChg>
        <pc:picChg chg="add mod">
          <ac:chgData name="Heikki Rannikko" userId="6863426b-2a9f-46d5-8945-a540b46c6536" providerId="ADAL" clId="{671E238F-F1AB-405B-9FD4-D0BF2D424AFA}" dt="2024-08-27T06:45:06.554" v="27" actId="1076"/>
          <ac:picMkLst>
            <pc:docMk/>
            <pc:sldMk cId="3458573582" sldId="2328"/>
            <ac:picMk id="18" creationId="{3EDF8ACF-8FBE-5D8C-7381-F5F25D1F7C27}"/>
          </ac:picMkLst>
        </pc:picChg>
        <pc:picChg chg="del">
          <ac:chgData name="Heikki Rannikko" userId="6863426b-2a9f-46d5-8945-a540b46c6536" providerId="ADAL" clId="{671E238F-F1AB-405B-9FD4-D0BF2D424AFA}" dt="2024-08-27T06:43:45.196" v="24" actId="478"/>
          <ac:picMkLst>
            <pc:docMk/>
            <pc:sldMk cId="3458573582" sldId="2328"/>
            <ac:picMk id="1026" creationId="{2D84D9C2-5877-2F9B-EF92-B828A7DAFB66}"/>
          </ac:picMkLst>
        </pc:picChg>
      </pc:sldChg>
      <pc:sldChg chg="modSp new del mod">
        <pc:chgData name="Heikki Rannikko" userId="6863426b-2a9f-46d5-8945-a540b46c6536" providerId="ADAL" clId="{671E238F-F1AB-405B-9FD4-D0BF2D424AFA}" dt="2024-08-27T06:54:42.987" v="86" actId="47"/>
        <pc:sldMkLst>
          <pc:docMk/>
          <pc:sldMk cId="1170800397" sldId="2329"/>
        </pc:sldMkLst>
        <pc:spChg chg="mod">
          <ac:chgData name="Heikki Rannikko" userId="6863426b-2a9f-46d5-8945-a540b46c6536" providerId="ADAL" clId="{671E238F-F1AB-405B-9FD4-D0BF2D424AFA}" dt="2024-08-27T06:54:39.762" v="85" actId="27636"/>
          <ac:spMkLst>
            <pc:docMk/>
            <pc:sldMk cId="1170800397" sldId="2329"/>
            <ac:spMk id="7" creationId="{E71B73BB-5030-5B66-DB1F-3BEFBF67013A}"/>
          </ac:spMkLst>
        </pc:spChg>
      </pc:sldChg>
      <pc:sldChg chg="add del setBg">
        <pc:chgData name="Heikki Rannikko" userId="6863426b-2a9f-46d5-8945-a540b46c6536" providerId="ADAL" clId="{671E238F-F1AB-405B-9FD4-D0BF2D424AFA}" dt="2024-08-27T06:55:07.564" v="91"/>
        <pc:sldMkLst>
          <pc:docMk/>
          <pc:sldMk cId="2126402655" sldId="2329"/>
        </pc:sldMkLst>
      </pc:sldChg>
      <pc:sldChg chg="addSp delSp modSp add mod">
        <pc:chgData name="Heikki Rannikko" userId="6863426b-2a9f-46d5-8945-a540b46c6536" providerId="ADAL" clId="{671E238F-F1AB-405B-9FD4-D0BF2D424AFA}" dt="2024-08-29T06:19:05.613" v="251" actId="20577"/>
        <pc:sldMkLst>
          <pc:docMk/>
          <pc:sldMk cId="3506517544" sldId="2329"/>
        </pc:sldMkLst>
        <pc:spChg chg="mod">
          <ac:chgData name="Heikki Rannikko" userId="6863426b-2a9f-46d5-8945-a540b46c6536" providerId="ADAL" clId="{671E238F-F1AB-405B-9FD4-D0BF2D424AFA}" dt="2024-08-27T07:37:35.357" v="229" actId="20577"/>
          <ac:spMkLst>
            <pc:docMk/>
            <pc:sldMk cId="3506517544" sldId="2329"/>
            <ac:spMk id="6" creationId="{CE35134B-246D-7CB9-AAAE-59541B2A9DE5}"/>
          </ac:spMkLst>
        </pc:spChg>
        <pc:spChg chg="mod">
          <ac:chgData name="Heikki Rannikko" userId="6863426b-2a9f-46d5-8945-a540b46c6536" providerId="ADAL" clId="{671E238F-F1AB-405B-9FD4-D0BF2D424AFA}" dt="2024-08-27T07:02:17.891" v="187" actId="13926"/>
          <ac:spMkLst>
            <pc:docMk/>
            <pc:sldMk cId="3506517544" sldId="2329"/>
            <ac:spMk id="12" creationId="{54676348-D246-26BF-47A7-28A42A166B97}"/>
          </ac:spMkLst>
        </pc:spChg>
        <pc:graphicFrameChg chg="add mod">
          <ac:chgData name="Heikki Rannikko" userId="6863426b-2a9f-46d5-8945-a540b46c6536" providerId="ADAL" clId="{671E238F-F1AB-405B-9FD4-D0BF2D424AFA}" dt="2024-08-27T06:59:30.798" v="99"/>
          <ac:graphicFrameMkLst>
            <pc:docMk/>
            <pc:sldMk cId="3506517544" sldId="2329"/>
            <ac:graphicFrameMk id="7" creationId="{6270E4FE-4DA9-A551-2733-71AD49E12DD8}"/>
          </ac:graphicFrameMkLst>
        </pc:graphicFrameChg>
        <pc:graphicFrameChg chg="add mod">
          <ac:chgData name="Heikki Rannikko" userId="6863426b-2a9f-46d5-8945-a540b46c6536" providerId="ADAL" clId="{671E238F-F1AB-405B-9FD4-D0BF2D424AFA}" dt="2024-08-29T06:19:05.613" v="251" actId="20577"/>
          <ac:graphicFrameMkLst>
            <pc:docMk/>
            <pc:sldMk cId="3506517544" sldId="2329"/>
            <ac:graphicFrameMk id="10" creationId="{6270E4FE-4DA9-A551-2733-71AD49E12DD8}"/>
          </ac:graphicFrameMkLst>
        </pc:graphicFrameChg>
        <pc:picChg chg="del">
          <ac:chgData name="Heikki Rannikko" userId="6863426b-2a9f-46d5-8945-a540b46c6536" providerId="ADAL" clId="{671E238F-F1AB-405B-9FD4-D0BF2D424AFA}" dt="2024-08-27T06:55:12.675" v="94" actId="478"/>
          <ac:picMkLst>
            <pc:docMk/>
            <pc:sldMk cId="3506517544" sldId="2329"/>
            <ac:picMk id="64" creationId="{49F2D0A6-51B0-A648-8197-7CC73492003E}"/>
          </ac:picMkLst>
        </pc:picChg>
        <pc:picChg chg="del">
          <ac:chgData name="Heikki Rannikko" userId="6863426b-2a9f-46d5-8945-a540b46c6536" providerId="ADAL" clId="{671E238F-F1AB-405B-9FD4-D0BF2D424AFA}" dt="2024-08-27T06:55:14.445" v="95" actId="478"/>
          <ac:picMkLst>
            <pc:docMk/>
            <pc:sldMk cId="3506517544" sldId="2329"/>
            <ac:picMk id="65" creationId="{FE47DA48-2D7B-86B5-F03E-156B2657EF7B}"/>
          </ac:picMkLst>
        </pc:picChg>
        <pc:picChg chg="del">
          <ac:chgData name="Heikki Rannikko" userId="6863426b-2a9f-46d5-8945-a540b46c6536" providerId="ADAL" clId="{671E238F-F1AB-405B-9FD4-D0BF2D424AFA}" dt="2024-08-27T06:55:10.129" v="93" actId="478"/>
          <ac:picMkLst>
            <pc:docMk/>
            <pc:sldMk cId="3506517544" sldId="2329"/>
            <ac:picMk id="97" creationId="{7429AD83-8D06-6825-154D-B97F42DE3AD9}"/>
          </ac:picMkLst>
        </pc:picChg>
      </pc:sldChg>
      <pc:sldChg chg="add del setBg">
        <pc:chgData name="Heikki Rannikko" userId="6863426b-2a9f-46d5-8945-a540b46c6536" providerId="ADAL" clId="{671E238F-F1AB-405B-9FD4-D0BF2D424AFA}" dt="2024-08-27T07:26:12.435" v="196"/>
        <pc:sldMkLst>
          <pc:docMk/>
          <pc:sldMk cId="95758707" sldId="2330"/>
        </pc:sldMkLst>
      </pc:sldChg>
      <pc:sldChg chg="modSp new del mod">
        <pc:chgData name="Heikki Rannikko" userId="6863426b-2a9f-46d5-8945-a540b46c6536" providerId="ADAL" clId="{671E238F-F1AB-405B-9FD4-D0BF2D424AFA}" dt="2024-08-27T07:26:05.011" v="194" actId="680"/>
        <pc:sldMkLst>
          <pc:docMk/>
          <pc:sldMk cId="1454778388" sldId="2330"/>
        </pc:sldMkLst>
        <pc:spChg chg="mod">
          <ac:chgData name="Heikki Rannikko" userId="6863426b-2a9f-46d5-8945-a540b46c6536" providerId="ADAL" clId="{671E238F-F1AB-405B-9FD4-D0BF2D424AFA}" dt="2024-08-27T07:26:05.011" v="194" actId="680"/>
          <ac:spMkLst>
            <pc:docMk/>
            <pc:sldMk cId="1454778388" sldId="2330"/>
            <ac:spMk id="7" creationId="{F6B513AE-AA11-3162-3023-903D85E10EA7}"/>
          </ac:spMkLst>
        </pc:spChg>
      </pc:sldChg>
      <pc:sldChg chg="addSp delSp modSp add mod">
        <pc:chgData name="Heikki Rannikko" userId="6863426b-2a9f-46d5-8945-a540b46c6536" providerId="ADAL" clId="{671E238F-F1AB-405B-9FD4-D0BF2D424AFA}" dt="2024-08-27T07:38:15.788" v="249" actId="20577"/>
        <pc:sldMkLst>
          <pc:docMk/>
          <pc:sldMk cId="1639299223" sldId="2330"/>
        </pc:sldMkLst>
        <pc:spChg chg="mod">
          <ac:chgData name="Heikki Rannikko" userId="6863426b-2a9f-46d5-8945-a540b46c6536" providerId="ADAL" clId="{671E238F-F1AB-405B-9FD4-D0BF2D424AFA}" dt="2024-08-27T07:35:54.183" v="218" actId="13926"/>
          <ac:spMkLst>
            <pc:docMk/>
            <pc:sldMk cId="1639299223" sldId="2330"/>
            <ac:spMk id="6" creationId="{4A72E0B5-900A-5486-7FFF-6566138C6A29}"/>
          </ac:spMkLst>
        </pc:spChg>
        <pc:spChg chg="mod">
          <ac:chgData name="Heikki Rannikko" userId="6863426b-2a9f-46d5-8945-a540b46c6536" providerId="ADAL" clId="{671E238F-F1AB-405B-9FD4-D0BF2D424AFA}" dt="2024-08-27T07:38:15.788" v="249" actId="20577"/>
          <ac:spMkLst>
            <pc:docMk/>
            <pc:sldMk cId="1639299223" sldId="2330"/>
            <ac:spMk id="7" creationId="{0227112B-5075-2429-12D3-BD2B8886B6CF}"/>
          </ac:spMkLst>
        </pc:spChg>
        <pc:spChg chg="mod">
          <ac:chgData name="Heikki Rannikko" userId="6863426b-2a9f-46d5-8945-a540b46c6536" providerId="ADAL" clId="{671E238F-F1AB-405B-9FD4-D0BF2D424AFA}" dt="2024-08-27T07:35:27.489" v="216" actId="13926"/>
          <ac:spMkLst>
            <pc:docMk/>
            <pc:sldMk cId="1639299223" sldId="2330"/>
            <ac:spMk id="26" creationId="{9442913D-3C49-A45D-44C5-D96C4FA232A3}"/>
          </ac:spMkLst>
        </pc:spChg>
        <pc:picChg chg="add del mod">
          <ac:chgData name="Heikki Rannikko" userId="6863426b-2a9f-46d5-8945-a540b46c6536" providerId="ADAL" clId="{671E238F-F1AB-405B-9FD4-D0BF2D424AFA}" dt="2024-08-27T07:27:17.343" v="206" actId="478"/>
          <ac:picMkLst>
            <pc:docMk/>
            <pc:sldMk cId="1639299223" sldId="2330"/>
            <ac:picMk id="8" creationId="{2B09ABF3-9B1A-63BF-71DD-878AA0370DF7}"/>
          </ac:picMkLst>
        </pc:picChg>
        <pc:picChg chg="add del mod">
          <ac:chgData name="Heikki Rannikko" userId="6863426b-2a9f-46d5-8945-a540b46c6536" providerId="ADAL" clId="{671E238F-F1AB-405B-9FD4-D0BF2D424AFA}" dt="2024-08-27T07:34:53.794" v="210" actId="478"/>
          <ac:picMkLst>
            <pc:docMk/>
            <pc:sldMk cId="1639299223" sldId="2330"/>
            <ac:picMk id="11" creationId="{A48BF1CD-ADFE-231A-F7AB-3501C32EB656}"/>
          </ac:picMkLst>
        </pc:picChg>
        <pc:picChg chg="add mod">
          <ac:chgData name="Heikki Rannikko" userId="6863426b-2a9f-46d5-8945-a540b46c6536" providerId="ADAL" clId="{671E238F-F1AB-405B-9FD4-D0BF2D424AFA}" dt="2024-08-27T07:35:02.856" v="213" actId="1076"/>
          <ac:picMkLst>
            <pc:docMk/>
            <pc:sldMk cId="1639299223" sldId="2330"/>
            <ac:picMk id="12" creationId="{BA474233-8BCA-BEAF-636D-2AABBD50496C}"/>
          </ac:picMkLst>
        </pc:picChg>
        <pc:picChg chg="add del mod">
          <ac:chgData name="Heikki Rannikko" userId="6863426b-2a9f-46d5-8945-a540b46c6536" providerId="ADAL" clId="{671E238F-F1AB-405B-9FD4-D0BF2D424AFA}" dt="2024-08-27T07:26:39.923" v="201" actId="478"/>
          <ac:picMkLst>
            <pc:docMk/>
            <pc:sldMk cId="1639299223" sldId="2330"/>
            <ac:picMk id="18" creationId="{90965694-9597-7E75-BF62-69B6CC79883A}"/>
          </ac:picMkLst>
        </pc:picChg>
      </pc:sldChg>
      <pc:sldChg chg="delSp add del mod setBg">
        <pc:chgData name="Heikki Rannikko" userId="6863426b-2a9f-46d5-8945-a540b46c6536" providerId="ADAL" clId="{671E238F-F1AB-405B-9FD4-D0BF2D424AFA}" dt="2024-08-27T06:54:57.268" v="89" actId="47"/>
        <pc:sldMkLst>
          <pc:docMk/>
          <pc:sldMk cId="2596327025" sldId="2330"/>
        </pc:sldMkLst>
        <pc:picChg chg="del">
          <ac:chgData name="Heikki Rannikko" userId="6863426b-2a9f-46d5-8945-a540b46c6536" providerId="ADAL" clId="{671E238F-F1AB-405B-9FD4-D0BF2D424AFA}" dt="2024-08-27T06:54:53.246" v="88" actId="478"/>
          <ac:picMkLst>
            <pc:docMk/>
            <pc:sldMk cId="2596327025" sldId="2330"/>
            <ac:picMk id="64" creationId="{49F2D0A6-51B0-A648-8197-7CC73492003E}"/>
          </ac:picMkLst>
        </pc:picChg>
        <pc:picChg chg="del">
          <ac:chgData name="Heikki Rannikko" userId="6863426b-2a9f-46d5-8945-a540b46c6536" providerId="ADAL" clId="{671E238F-F1AB-405B-9FD4-D0BF2D424AFA}" dt="2024-08-27T06:54:51.307" v="87" actId="478"/>
          <ac:picMkLst>
            <pc:docMk/>
            <pc:sldMk cId="2596327025" sldId="2330"/>
            <ac:picMk id="97" creationId="{7429AD83-8D06-6825-154D-B97F42DE3AD9}"/>
          </ac:picMkLst>
        </pc:picChg>
      </pc:sldChg>
    </pc:docChg>
  </pc:docChgLst>
  <pc:docChgLst>
    <pc:chgData name="Joel Jokivuori" userId="S::joel.jokivuori@ramboll.fi::dad2b884-a891-4960-b725-0d4bc0900125" providerId="AD" clId="Web-{8F410A92-F9D5-5236-5DC6-572CC03006B4}"/>
    <pc:docChg chg="addSld">
      <pc:chgData name="Joel Jokivuori" userId="S::joel.jokivuori@ramboll.fi::dad2b884-a891-4960-b725-0d4bc0900125" providerId="AD" clId="Web-{8F410A92-F9D5-5236-5DC6-572CC03006B4}" dt="2024-09-03T12:06:20.496" v="0"/>
      <pc:docMkLst>
        <pc:docMk/>
      </pc:docMkLst>
      <pc:sldChg chg="add">
        <pc:chgData name="Joel Jokivuori" userId="S::joel.jokivuori@ramboll.fi::dad2b884-a891-4960-b725-0d4bc0900125" providerId="AD" clId="Web-{8F410A92-F9D5-5236-5DC6-572CC03006B4}" dt="2024-09-03T12:06:20.496" v="0"/>
        <pc:sldMkLst>
          <pc:docMk/>
          <pc:sldMk cId="1474602370" sldId="2331"/>
        </pc:sldMkLst>
      </pc:sldChg>
    </pc:docChg>
  </pc:docChgLst>
  <pc:docChgLst>
    <pc:chgData name="Sami Ruotsalainen" userId="ca7d0a82-bb72-4b23-ae21-867fa9b9b13f" providerId="ADAL" clId="{C2880D6B-4FA8-4325-A7A6-7E2A70578733}"/>
    <pc:docChg chg="modSld">
      <pc:chgData name="Sami Ruotsalainen" userId="ca7d0a82-bb72-4b23-ae21-867fa9b9b13f" providerId="ADAL" clId="{C2880D6B-4FA8-4325-A7A6-7E2A70578733}" dt="2024-10-03T09:32:37.192" v="31" actId="6549"/>
      <pc:docMkLst>
        <pc:docMk/>
      </pc:docMkLst>
      <pc:sldChg chg="modSp mod">
        <pc:chgData name="Sami Ruotsalainen" userId="ca7d0a82-bb72-4b23-ae21-867fa9b9b13f" providerId="ADAL" clId="{C2880D6B-4FA8-4325-A7A6-7E2A70578733}" dt="2024-10-03T09:32:37.192" v="31" actId="6549"/>
        <pc:sldMkLst>
          <pc:docMk/>
          <pc:sldMk cId="2097100668" sldId="257"/>
        </pc:sldMkLst>
        <pc:spChg chg="mod">
          <ac:chgData name="Sami Ruotsalainen" userId="ca7d0a82-bb72-4b23-ae21-867fa9b9b13f" providerId="ADAL" clId="{C2880D6B-4FA8-4325-A7A6-7E2A70578733}" dt="2024-10-03T09:32:15.121" v="5" actId="20577"/>
          <ac:spMkLst>
            <pc:docMk/>
            <pc:sldMk cId="2097100668" sldId="257"/>
            <ac:spMk id="2" creationId="{ADCC2D2E-64CC-2DB4-5BC9-F6CA637A1627}"/>
          </ac:spMkLst>
        </pc:spChg>
        <pc:spChg chg="mod">
          <ac:chgData name="Sami Ruotsalainen" userId="ca7d0a82-bb72-4b23-ae21-867fa9b9b13f" providerId="ADAL" clId="{C2880D6B-4FA8-4325-A7A6-7E2A70578733}" dt="2024-10-03T09:32:37.192" v="31" actId="6549"/>
          <ac:spMkLst>
            <pc:docMk/>
            <pc:sldMk cId="2097100668" sldId="257"/>
            <ac:spMk id="7" creationId="{C9B2A790-6264-EAE7-02ED-9CF4A7B800C9}"/>
          </ac:spMkLst>
        </pc:spChg>
      </pc:sldChg>
    </pc:docChg>
  </pc:docChgLst>
  <pc:docChgLst>
    <pc:chgData name="Joel Jokivuori" userId="S::joel.jokivuori@ramboll.fi::dad2b884-a891-4960-b725-0d4bc0900125" providerId="AD" clId="Web-{DD35E562-E0A2-B1D8-D836-CADB85338963}"/>
    <pc:docChg chg="modSld">
      <pc:chgData name="Joel Jokivuori" userId="S::joel.jokivuori@ramboll.fi::dad2b884-a891-4960-b725-0d4bc0900125" providerId="AD" clId="Web-{DD35E562-E0A2-B1D8-D836-CADB85338963}" dt="2024-09-11T12:55:53.943" v="0" actId="1076"/>
      <pc:docMkLst>
        <pc:docMk/>
      </pc:docMkLst>
      <pc:sldChg chg="modSp">
        <pc:chgData name="Joel Jokivuori" userId="S::joel.jokivuori@ramboll.fi::dad2b884-a891-4960-b725-0d4bc0900125" providerId="AD" clId="Web-{DD35E562-E0A2-B1D8-D836-CADB85338963}" dt="2024-09-11T12:55:53.943" v="0" actId="1076"/>
        <pc:sldMkLst>
          <pc:docMk/>
          <pc:sldMk cId="3820825327" sldId="2323"/>
        </pc:sldMkLst>
        <pc:spChg chg="mod">
          <ac:chgData name="Joel Jokivuori" userId="S::joel.jokivuori@ramboll.fi::dad2b884-a891-4960-b725-0d4bc0900125" providerId="AD" clId="Web-{DD35E562-E0A2-B1D8-D836-CADB85338963}" dt="2024-09-11T12:55:53.943" v="0" actId="1076"/>
          <ac:spMkLst>
            <pc:docMk/>
            <pc:sldMk cId="3820825327" sldId="2323"/>
            <ac:spMk id="7" creationId="{92E1E403-DB1E-D822-F779-AAB965ADFFCD}"/>
          </ac:spMkLst>
        </pc:spChg>
      </pc:sldChg>
    </pc:docChg>
  </pc:docChgLst>
  <pc:docChgLst>
    <pc:chgData name="Sami Ruotsalainen" userId="ca7d0a82-bb72-4b23-ae21-867fa9b9b13f" providerId="ADAL" clId="{AFC134E7-68D4-466A-8FEF-AAD2CE461183}"/>
    <pc:docChg chg="custSel modSld">
      <pc:chgData name="Sami Ruotsalainen" userId="ca7d0a82-bb72-4b23-ae21-867fa9b9b13f" providerId="ADAL" clId="{AFC134E7-68D4-466A-8FEF-AAD2CE461183}" dt="2024-10-07T05:30:56.262" v="36"/>
      <pc:docMkLst>
        <pc:docMk/>
      </pc:docMkLst>
      <pc:sldChg chg="modSp mod">
        <pc:chgData name="Sami Ruotsalainen" userId="ca7d0a82-bb72-4b23-ae21-867fa9b9b13f" providerId="ADAL" clId="{AFC134E7-68D4-466A-8FEF-AAD2CE461183}" dt="2024-10-07T05:29:57.448" v="10" actId="20577"/>
        <pc:sldMkLst>
          <pc:docMk/>
          <pc:sldMk cId="2097100668" sldId="257"/>
        </pc:sldMkLst>
        <pc:spChg chg="mod">
          <ac:chgData name="Sami Ruotsalainen" userId="ca7d0a82-bb72-4b23-ae21-867fa9b9b13f" providerId="ADAL" clId="{AFC134E7-68D4-466A-8FEF-AAD2CE461183}" dt="2024-10-07T05:29:57.448" v="10" actId="20577"/>
          <ac:spMkLst>
            <pc:docMk/>
            <pc:sldMk cId="2097100668" sldId="257"/>
            <ac:spMk id="4" creationId="{00000000-0000-0000-0000-000000000000}"/>
          </ac:spMkLst>
        </pc:spChg>
      </pc:sldChg>
      <pc:sldChg chg="addSp delSp modSp mod">
        <pc:chgData name="Sami Ruotsalainen" userId="ca7d0a82-bb72-4b23-ae21-867fa9b9b13f" providerId="ADAL" clId="{AFC134E7-68D4-466A-8FEF-AAD2CE461183}" dt="2024-10-07T05:30:07.476" v="14"/>
        <pc:sldMkLst>
          <pc:docMk/>
          <pc:sldMk cId="4051174790" sldId="276"/>
        </pc:sldMkLst>
        <pc:spChg chg="del">
          <ac:chgData name="Sami Ruotsalainen" userId="ca7d0a82-bb72-4b23-ae21-867fa9b9b13f" providerId="ADAL" clId="{AFC134E7-68D4-466A-8FEF-AAD2CE461183}" dt="2024-10-07T05:30:07.075" v="13" actId="478"/>
          <ac:spMkLst>
            <pc:docMk/>
            <pc:sldMk cId="4051174790" sldId="276"/>
            <ac:spMk id="3" creationId="{18D9714E-A5F8-D65C-25D9-153B6A5103FB}"/>
          </ac:spMkLst>
        </pc:spChg>
        <pc:spChg chg="add mod">
          <ac:chgData name="Sami Ruotsalainen" userId="ca7d0a82-bb72-4b23-ae21-867fa9b9b13f" providerId="ADAL" clId="{AFC134E7-68D4-466A-8FEF-AAD2CE461183}" dt="2024-10-07T05:30:07.476" v="14"/>
          <ac:spMkLst>
            <pc:docMk/>
            <pc:sldMk cId="4051174790" sldId="276"/>
            <ac:spMk id="7" creationId="{778235A3-D699-B440-DF0E-DAFBB605700D}"/>
          </ac:spMkLst>
        </pc:spChg>
      </pc:sldChg>
      <pc:sldChg chg="addSp delSp modSp mod">
        <pc:chgData name="Sami Ruotsalainen" userId="ca7d0a82-bb72-4b23-ae21-867fa9b9b13f" providerId="ADAL" clId="{AFC134E7-68D4-466A-8FEF-AAD2CE461183}" dt="2024-10-07T05:30:03.217" v="12"/>
        <pc:sldMkLst>
          <pc:docMk/>
          <pc:sldMk cId="3464739985" sldId="2325"/>
        </pc:sldMkLst>
        <pc:spChg chg="del">
          <ac:chgData name="Sami Ruotsalainen" userId="ca7d0a82-bb72-4b23-ae21-867fa9b9b13f" providerId="ADAL" clId="{AFC134E7-68D4-466A-8FEF-AAD2CE461183}" dt="2024-10-07T05:30:02.916" v="11" actId="478"/>
          <ac:spMkLst>
            <pc:docMk/>
            <pc:sldMk cId="3464739985" sldId="2325"/>
            <ac:spMk id="3" creationId="{18D9714E-A5F8-D65C-25D9-153B6A5103FB}"/>
          </ac:spMkLst>
        </pc:spChg>
        <pc:spChg chg="add mod">
          <ac:chgData name="Sami Ruotsalainen" userId="ca7d0a82-bb72-4b23-ae21-867fa9b9b13f" providerId="ADAL" clId="{AFC134E7-68D4-466A-8FEF-AAD2CE461183}" dt="2024-10-07T05:30:03.217" v="12"/>
          <ac:spMkLst>
            <pc:docMk/>
            <pc:sldMk cId="3464739985" sldId="2325"/>
            <ac:spMk id="7" creationId="{6CD9E25F-9A33-AFE5-A562-445E4D1C5649}"/>
          </ac:spMkLst>
        </pc:spChg>
      </pc:sldChg>
      <pc:sldChg chg="addSp delSp modSp mod">
        <pc:chgData name="Sami Ruotsalainen" userId="ca7d0a82-bb72-4b23-ae21-867fa9b9b13f" providerId="ADAL" clId="{AFC134E7-68D4-466A-8FEF-AAD2CE461183}" dt="2024-10-07T05:30:12.376" v="16"/>
        <pc:sldMkLst>
          <pc:docMk/>
          <pc:sldMk cId="4071812514" sldId="2332"/>
        </pc:sldMkLst>
        <pc:spChg chg="del">
          <ac:chgData name="Sami Ruotsalainen" userId="ca7d0a82-bb72-4b23-ae21-867fa9b9b13f" providerId="ADAL" clId="{AFC134E7-68D4-466A-8FEF-AAD2CE461183}" dt="2024-10-07T05:30:12.044" v="15" actId="478"/>
          <ac:spMkLst>
            <pc:docMk/>
            <pc:sldMk cId="4071812514" sldId="2332"/>
            <ac:spMk id="3" creationId="{18D9714E-A5F8-D65C-25D9-153B6A5103FB}"/>
          </ac:spMkLst>
        </pc:spChg>
        <pc:spChg chg="add mod">
          <ac:chgData name="Sami Ruotsalainen" userId="ca7d0a82-bb72-4b23-ae21-867fa9b9b13f" providerId="ADAL" clId="{AFC134E7-68D4-466A-8FEF-AAD2CE461183}" dt="2024-10-07T05:30:12.376" v="16"/>
          <ac:spMkLst>
            <pc:docMk/>
            <pc:sldMk cId="4071812514" sldId="2332"/>
            <ac:spMk id="6" creationId="{180C7C4B-A092-BD21-3543-FC828B9555F0}"/>
          </ac:spMkLst>
        </pc:spChg>
      </pc:sldChg>
      <pc:sldChg chg="addSp delSp modSp mod">
        <pc:chgData name="Sami Ruotsalainen" userId="ca7d0a82-bb72-4b23-ae21-867fa9b9b13f" providerId="ADAL" clId="{AFC134E7-68D4-466A-8FEF-AAD2CE461183}" dt="2024-10-07T05:30:16.855" v="18"/>
        <pc:sldMkLst>
          <pc:docMk/>
          <pc:sldMk cId="3815777360" sldId="2333"/>
        </pc:sldMkLst>
        <pc:spChg chg="del">
          <ac:chgData name="Sami Ruotsalainen" userId="ca7d0a82-bb72-4b23-ae21-867fa9b9b13f" providerId="ADAL" clId="{AFC134E7-68D4-466A-8FEF-AAD2CE461183}" dt="2024-10-07T05:30:16.501" v="17" actId="478"/>
          <ac:spMkLst>
            <pc:docMk/>
            <pc:sldMk cId="3815777360" sldId="2333"/>
            <ac:spMk id="3" creationId="{18D9714E-A5F8-D65C-25D9-153B6A5103FB}"/>
          </ac:spMkLst>
        </pc:spChg>
        <pc:spChg chg="add mod">
          <ac:chgData name="Sami Ruotsalainen" userId="ca7d0a82-bb72-4b23-ae21-867fa9b9b13f" providerId="ADAL" clId="{AFC134E7-68D4-466A-8FEF-AAD2CE461183}" dt="2024-10-07T05:30:16.855" v="18"/>
          <ac:spMkLst>
            <pc:docMk/>
            <pc:sldMk cId="3815777360" sldId="2333"/>
            <ac:spMk id="8" creationId="{119AB02D-C025-E683-69C1-FDBFAD4B902E}"/>
          </ac:spMkLst>
        </pc:spChg>
      </pc:sldChg>
      <pc:sldChg chg="addSp delSp modSp mod">
        <pc:chgData name="Sami Ruotsalainen" userId="ca7d0a82-bb72-4b23-ae21-867fa9b9b13f" providerId="ADAL" clId="{AFC134E7-68D4-466A-8FEF-AAD2CE461183}" dt="2024-10-07T05:30:20.909" v="20"/>
        <pc:sldMkLst>
          <pc:docMk/>
          <pc:sldMk cId="2899377281" sldId="2334"/>
        </pc:sldMkLst>
        <pc:spChg chg="del">
          <ac:chgData name="Sami Ruotsalainen" userId="ca7d0a82-bb72-4b23-ae21-867fa9b9b13f" providerId="ADAL" clId="{AFC134E7-68D4-466A-8FEF-AAD2CE461183}" dt="2024-10-07T05:30:20.593" v="19" actId="478"/>
          <ac:spMkLst>
            <pc:docMk/>
            <pc:sldMk cId="2899377281" sldId="2334"/>
            <ac:spMk id="3" creationId="{18D9714E-A5F8-D65C-25D9-153B6A5103FB}"/>
          </ac:spMkLst>
        </pc:spChg>
        <pc:spChg chg="add mod">
          <ac:chgData name="Sami Ruotsalainen" userId="ca7d0a82-bb72-4b23-ae21-867fa9b9b13f" providerId="ADAL" clId="{AFC134E7-68D4-466A-8FEF-AAD2CE461183}" dt="2024-10-07T05:30:20.909" v="20"/>
          <ac:spMkLst>
            <pc:docMk/>
            <pc:sldMk cId="2899377281" sldId="2334"/>
            <ac:spMk id="6" creationId="{CFA52093-E5C3-F69E-66F7-6BACBA23AB4D}"/>
          </ac:spMkLst>
        </pc:spChg>
        <pc:graphicFrameChg chg="mod">
          <ac:chgData name="Sami Ruotsalainen" userId="ca7d0a82-bb72-4b23-ae21-867fa9b9b13f" providerId="ADAL" clId="{AFC134E7-68D4-466A-8FEF-AAD2CE461183}" dt="2024-10-07T05:25:34.203" v="0" actId="207"/>
          <ac:graphicFrameMkLst>
            <pc:docMk/>
            <pc:sldMk cId="2899377281" sldId="2334"/>
            <ac:graphicFrameMk id="11" creationId="{BA9AFD32-8D2F-811A-1246-07375C674DA4}"/>
          </ac:graphicFrameMkLst>
        </pc:graphicFrameChg>
      </pc:sldChg>
      <pc:sldChg chg="addSp delSp modSp mod">
        <pc:chgData name="Sami Ruotsalainen" userId="ca7d0a82-bb72-4b23-ae21-867fa9b9b13f" providerId="ADAL" clId="{AFC134E7-68D4-466A-8FEF-AAD2CE461183}" dt="2024-10-07T05:30:26.238" v="22"/>
        <pc:sldMkLst>
          <pc:docMk/>
          <pc:sldMk cId="2634940776" sldId="2335"/>
        </pc:sldMkLst>
        <pc:spChg chg="del">
          <ac:chgData name="Sami Ruotsalainen" userId="ca7d0a82-bb72-4b23-ae21-867fa9b9b13f" providerId="ADAL" clId="{AFC134E7-68D4-466A-8FEF-AAD2CE461183}" dt="2024-10-07T05:30:25.884" v="21" actId="478"/>
          <ac:spMkLst>
            <pc:docMk/>
            <pc:sldMk cId="2634940776" sldId="2335"/>
            <ac:spMk id="3" creationId="{18D9714E-A5F8-D65C-25D9-153B6A5103FB}"/>
          </ac:spMkLst>
        </pc:spChg>
        <pc:spChg chg="add mod">
          <ac:chgData name="Sami Ruotsalainen" userId="ca7d0a82-bb72-4b23-ae21-867fa9b9b13f" providerId="ADAL" clId="{AFC134E7-68D4-466A-8FEF-AAD2CE461183}" dt="2024-10-07T05:30:26.238" v="22"/>
          <ac:spMkLst>
            <pc:docMk/>
            <pc:sldMk cId="2634940776" sldId="2335"/>
            <ac:spMk id="6" creationId="{9E8C4894-F9BC-3583-9252-DF5A4BBC5FD4}"/>
          </ac:spMkLst>
        </pc:spChg>
      </pc:sldChg>
      <pc:sldChg chg="addSp delSp modSp mod">
        <pc:chgData name="Sami Ruotsalainen" userId="ca7d0a82-bb72-4b23-ae21-867fa9b9b13f" providerId="ADAL" clId="{AFC134E7-68D4-466A-8FEF-AAD2CE461183}" dt="2024-10-07T05:30:35.778" v="26"/>
        <pc:sldMkLst>
          <pc:docMk/>
          <pc:sldMk cId="1789160851" sldId="2336"/>
        </pc:sldMkLst>
        <pc:spChg chg="del">
          <ac:chgData name="Sami Ruotsalainen" userId="ca7d0a82-bb72-4b23-ae21-867fa9b9b13f" providerId="ADAL" clId="{AFC134E7-68D4-466A-8FEF-AAD2CE461183}" dt="2024-10-07T05:30:35.430" v="25" actId="478"/>
          <ac:spMkLst>
            <pc:docMk/>
            <pc:sldMk cId="1789160851" sldId="2336"/>
            <ac:spMk id="3" creationId="{18D9714E-A5F8-D65C-25D9-153B6A5103FB}"/>
          </ac:spMkLst>
        </pc:spChg>
        <pc:spChg chg="add mod">
          <ac:chgData name="Sami Ruotsalainen" userId="ca7d0a82-bb72-4b23-ae21-867fa9b9b13f" providerId="ADAL" clId="{AFC134E7-68D4-466A-8FEF-AAD2CE461183}" dt="2024-10-07T05:30:35.778" v="26"/>
          <ac:spMkLst>
            <pc:docMk/>
            <pc:sldMk cId="1789160851" sldId="2336"/>
            <ac:spMk id="6" creationId="{309FC9F8-4307-09FE-60C3-E1AC7A68A567}"/>
          </ac:spMkLst>
        </pc:spChg>
      </pc:sldChg>
      <pc:sldChg chg="addSp delSp modSp mod">
        <pc:chgData name="Sami Ruotsalainen" userId="ca7d0a82-bb72-4b23-ae21-867fa9b9b13f" providerId="ADAL" clId="{AFC134E7-68D4-466A-8FEF-AAD2CE461183}" dt="2024-10-07T05:30:40.550" v="28"/>
        <pc:sldMkLst>
          <pc:docMk/>
          <pc:sldMk cId="3286906433" sldId="2337"/>
        </pc:sldMkLst>
        <pc:spChg chg="del">
          <ac:chgData name="Sami Ruotsalainen" userId="ca7d0a82-bb72-4b23-ae21-867fa9b9b13f" providerId="ADAL" clId="{AFC134E7-68D4-466A-8FEF-AAD2CE461183}" dt="2024-10-07T05:30:40.250" v="27" actId="478"/>
          <ac:spMkLst>
            <pc:docMk/>
            <pc:sldMk cId="3286906433" sldId="2337"/>
            <ac:spMk id="3" creationId="{18D9714E-A5F8-D65C-25D9-153B6A5103FB}"/>
          </ac:spMkLst>
        </pc:spChg>
        <pc:spChg chg="add mod">
          <ac:chgData name="Sami Ruotsalainen" userId="ca7d0a82-bb72-4b23-ae21-867fa9b9b13f" providerId="ADAL" clId="{AFC134E7-68D4-466A-8FEF-AAD2CE461183}" dt="2024-10-07T05:30:40.550" v="28"/>
          <ac:spMkLst>
            <pc:docMk/>
            <pc:sldMk cId="3286906433" sldId="2337"/>
            <ac:spMk id="6" creationId="{14D069D6-9161-EB8C-B51F-EAB266E5E6F7}"/>
          </ac:spMkLst>
        </pc:spChg>
      </pc:sldChg>
      <pc:sldChg chg="addSp delSp modSp mod">
        <pc:chgData name="Sami Ruotsalainen" userId="ca7d0a82-bb72-4b23-ae21-867fa9b9b13f" providerId="ADAL" clId="{AFC134E7-68D4-466A-8FEF-AAD2CE461183}" dt="2024-10-07T05:30:44.761" v="30"/>
        <pc:sldMkLst>
          <pc:docMk/>
          <pc:sldMk cId="4205050444" sldId="2338"/>
        </pc:sldMkLst>
        <pc:spChg chg="del">
          <ac:chgData name="Sami Ruotsalainen" userId="ca7d0a82-bb72-4b23-ae21-867fa9b9b13f" providerId="ADAL" clId="{AFC134E7-68D4-466A-8FEF-AAD2CE461183}" dt="2024-10-07T05:30:44.491" v="29" actId="478"/>
          <ac:spMkLst>
            <pc:docMk/>
            <pc:sldMk cId="4205050444" sldId="2338"/>
            <ac:spMk id="3" creationId="{18D9714E-A5F8-D65C-25D9-153B6A5103FB}"/>
          </ac:spMkLst>
        </pc:spChg>
        <pc:spChg chg="add mod">
          <ac:chgData name="Sami Ruotsalainen" userId="ca7d0a82-bb72-4b23-ae21-867fa9b9b13f" providerId="ADAL" clId="{AFC134E7-68D4-466A-8FEF-AAD2CE461183}" dt="2024-10-07T05:30:44.761" v="30"/>
          <ac:spMkLst>
            <pc:docMk/>
            <pc:sldMk cId="4205050444" sldId="2338"/>
            <ac:spMk id="6" creationId="{611DDC54-B812-55E8-98A5-71C856304EB4}"/>
          </ac:spMkLst>
        </pc:spChg>
      </pc:sldChg>
      <pc:sldChg chg="addSp delSp modSp mod">
        <pc:chgData name="Sami Ruotsalainen" userId="ca7d0a82-bb72-4b23-ae21-867fa9b9b13f" providerId="ADAL" clId="{AFC134E7-68D4-466A-8FEF-AAD2CE461183}" dt="2024-10-07T05:30:49.065" v="32"/>
        <pc:sldMkLst>
          <pc:docMk/>
          <pc:sldMk cId="1841530469" sldId="2339"/>
        </pc:sldMkLst>
        <pc:spChg chg="del">
          <ac:chgData name="Sami Ruotsalainen" userId="ca7d0a82-bb72-4b23-ae21-867fa9b9b13f" providerId="ADAL" clId="{AFC134E7-68D4-466A-8FEF-AAD2CE461183}" dt="2024-10-07T05:30:48.787" v="31" actId="478"/>
          <ac:spMkLst>
            <pc:docMk/>
            <pc:sldMk cId="1841530469" sldId="2339"/>
            <ac:spMk id="3" creationId="{18D9714E-A5F8-D65C-25D9-153B6A5103FB}"/>
          </ac:spMkLst>
        </pc:spChg>
        <pc:spChg chg="add mod">
          <ac:chgData name="Sami Ruotsalainen" userId="ca7d0a82-bb72-4b23-ae21-867fa9b9b13f" providerId="ADAL" clId="{AFC134E7-68D4-466A-8FEF-AAD2CE461183}" dt="2024-10-07T05:30:49.065" v="32"/>
          <ac:spMkLst>
            <pc:docMk/>
            <pc:sldMk cId="1841530469" sldId="2339"/>
            <ac:spMk id="6" creationId="{1E27535C-F5F3-7B9C-DA39-704FB9C2E896}"/>
          </ac:spMkLst>
        </pc:spChg>
      </pc:sldChg>
      <pc:sldChg chg="addSp delSp modSp mod">
        <pc:chgData name="Sami Ruotsalainen" userId="ca7d0a82-bb72-4b23-ae21-867fa9b9b13f" providerId="ADAL" clId="{AFC134E7-68D4-466A-8FEF-AAD2CE461183}" dt="2024-10-07T05:30:53.274" v="34"/>
        <pc:sldMkLst>
          <pc:docMk/>
          <pc:sldMk cId="2447684172" sldId="2340"/>
        </pc:sldMkLst>
        <pc:spChg chg="del">
          <ac:chgData name="Sami Ruotsalainen" userId="ca7d0a82-bb72-4b23-ae21-867fa9b9b13f" providerId="ADAL" clId="{AFC134E7-68D4-466A-8FEF-AAD2CE461183}" dt="2024-10-07T05:30:52.997" v="33" actId="478"/>
          <ac:spMkLst>
            <pc:docMk/>
            <pc:sldMk cId="2447684172" sldId="2340"/>
            <ac:spMk id="3" creationId="{18D9714E-A5F8-D65C-25D9-153B6A5103FB}"/>
          </ac:spMkLst>
        </pc:spChg>
        <pc:spChg chg="add mod">
          <ac:chgData name="Sami Ruotsalainen" userId="ca7d0a82-bb72-4b23-ae21-867fa9b9b13f" providerId="ADAL" clId="{AFC134E7-68D4-466A-8FEF-AAD2CE461183}" dt="2024-10-07T05:30:53.274" v="34"/>
          <ac:spMkLst>
            <pc:docMk/>
            <pc:sldMk cId="2447684172" sldId="2340"/>
            <ac:spMk id="6" creationId="{F161AD25-445D-FD43-2586-0114983E58D4}"/>
          </ac:spMkLst>
        </pc:spChg>
      </pc:sldChg>
      <pc:sldChg chg="addSp delSp modSp mod">
        <pc:chgData name="Sami Ruotsalainen" userId="ca7d0a82-bb72-4b23-ae21-867fa9b9b13f" providerId="ADAL" clId="{AFC134E7-68D4-466A-8FEF-AAD2CE461183}" dt="2024-10-07T05:30:56.262" v="36"/>
        <pc:sldMkLst>
          <pc:docMk/>
          <pc:sldMk cId="4151674131" sldId="2341"/>
        </pc:sldMkLst>
        <pc:spChg chg="del">
          <ac:chgData name="Sami Ruotsalainen" userId="ca7d0a82-bb72-4b23-ae21-867fa9b9b13f" providerId="ADAL" clId="{AFC134E7-68D4-466A-8FEF-AAD2CE461183}" dt="2024-10-07T05:30:56.011" v="35" actId="478"/>
          <ac:spMkLst>
            <pc:docMk/>
            <pc:sldMk cId="4151674131" sldId="2341"/>
            <ac:spMk id="3" creationId="{18D9714E-A5F8-D65C-25D9-153B6A5103FB}"/>
          </ac:spMkLst>
        </pc:spChg>
        <pc:spChg chg="add mod">
          <ac:chgData name="Sami Ruotsalainen" userId="ca7d0a82-bb72-4b23-ae21-867fa9b9b13f" providerId="ADAL" clId="{AFC134E7-68D4-466A-8FEF-AAD2CE461183}" dt="2024-10-07T05:30:56.262" v="36"/>
          <ac:spMkLst>
            <pc:docMk/>
            <pc:sldMk cId="4151674131" sldId="2341"/>
            <ac:spMk id="6" creationId="{8177BB49-4FB6-A66F-D647-ADE3D7DBAABD}"/>
          </ac:spMkLst>
        </pc:spChg>
      </pc:sldChg>
      <pc:sldChg chg="addSp delSp modSp mod">
        <pc:chgData name="Sami Ruotsalainen" userId="ca7d0a82-bb72-4b23-ae21-867fa9b9b13f" providerId="ADAL" clId="{AFC134E7-68D4-466A-8FEF-AAD2CE461183}" dt="2024-10-07T05:30:31.921" v="24"/>
        <pc:sldMkLst>
          <pc:docMk/>
          <pc:sldMk cId="428365364" sldId="2342"/>
        </pc:sldMkLst>
        <pc:spChg chg="del">
          <ac:chgData name="Sami Ruotsalainen" userId="ca7d0a82-bb72-4b23-ae21-867fa9b9b13f" providerId="ADAL" clId="{AFC134E7-68D4-466A-8FEF-AAD2CE461183}" dt="2024-10-07T05:30:31.536" v="23" actId="478"/>
          <ac:spMkLst>
            <pc:docMk/>
            <pc:sldMk cId="428365364" sldId="2342"/>
            <ac:spMk id="3" creationId="{18D9714E-A5F8-D65C-25D9-153B6A5103FB}"/>
          </ac:spMkLst>
        </pc:spChg>
        <pc:spChg chg="add mod">
          <ac:chgData name="Sami Ruotsalainen" userId="ca7d0a82-bb72-4b23-ae21-867fa9b9b13f" providerId="ADAL" clId="{AFC134E7-68D4-466A-8FEF-AAD2CE461183}" dt="2024-10-07T05:30:31.921" v="24"/>
          <ac:spMkLst>
            <pc:docMk/>
            <pc:sldMk cId="428365364" sldId="2342"/>
            <ac:spMk id="7" creationId="{E8FA8CB2-643B-6242-4EE1-249273A1CBC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3.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4.xlsx"/></Relationships>
</file>

<file path=ppt/charts/_rels/chart13.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ramboll.sharepoint.com/sites/RFI2024N01271/Shared%20Documents/General/1_L&#228;ht&#246;tiedot/Talouden%20tunnusluku%20materiaaleja%202023%20katsauksesta/TALOUDEN%20TUNNUSLUVUT%20GRAAFIT,%20TILASTO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E$29</c:f>
              <c:strCache>
                <c:ptCount val="1"/>
                <c:pt idx="0">
                  <c:v>BKT:n muutos-%</c:v>
                </c:pt>
              </c:strCache>
            </c:strRef>
          </c:tx>
          <c:spPr>
            <a:ln w="28575" cap="rnd">
              <a:solidFill>
                <a:schemeClr val="accent1"/>
              </a:solidFill>
              <a:round/>
            </a:ln>
            <a:effectLst/>
          </c:spPr>
          <c:marker>
            <c:symbol val="none"/>
          </c:marker>
          <c:cat>
            <c:numRef>
              <c:f>'Talouden kehitysennusteet'!$D$30:$D$32</c:f>
              <c:numCache>
                <c:formatCode>General</c:formatCode>
                <c:ptCount val="3"/>
                <c:pt idx="0">
                  <c:v>2023</c:v>
                </c:pt>
                <c:pt idx="1">
                  <c:v>2024</c:v>
                </c:pt>
                <c:pt idx="2">
                  <c:v>2025</c:v>
                </c:pt>
              </c:numCache>
            </c:numRef>
          </c:cat>
          <c:val>
            <c:numRef>
              <c:f>'Talouden kehitysennusteet'!$E$30:$E$32</c:f>
              <c:numCache>
                <c:formatCode>0.0</c:formatCode>
                <c:ptCount val="3"/>
                <c:pt idx="0">
                  <c:v>2.08</c:v>
                </c:pt>
                <c:pt idx="1">
                  <c:v>-0.20999999999999996</c:v>
                </c:pt>
                <c:pt idx="2">
                  <c:v>1.0500000000000003</c:v>
                </c:pt>
              </c:numCache>
            </c:numRef>
          </c:val>
          <c:smooth val="0"/>
          <c:extLst>
            <c:ext xmlns:c16="http://schemas.microsoft.com/office/drawing/2014/chart" uri="{C3380CC4-5D6E-409C-BE32-E72D297353CC}">
              <c16:uniqueId val="{00000000-0ABA-4827-AC00-BFC758883695}"/>
            </c:ext>
          </c:extLst>
        </c:ser>
        <c:dLbls>
          <c:showLegendKey val="0"/>
          <c:showVal val="0"/>
          <c:showCatName val="0"/>
          <c:showSerName val="0"/>
          <c:showPercent val="0"/>
          <c:showBubbleSize val="0"/>
        </c:dLbls>
        <c:smooth val="0"/>
        <c:axId val="580699568"/>
        <c:axId val="580695960"/>
      </c:lineChart>
      <c:catAx>
        <c:axId val="580699568"/>
        <c:scaling>
          <c:orientation val="minMax"/>
        </c:scaling>
        <c:delete val="0"/>
        <c:axPos val="b"/>
        <c:numFmt formatCode="General" sourceLinked="1"/>
        <c:majorTickMark val="none"/>
        <c:minorTickMark val="none"/>
        <c:tickLblPos val="low"/>
        <c:spPr>
          <a:noFill/>
          <a:ln w="1905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580695960"/>
        <c:crosses val="autoZero"/>
        <c:auto val="1"/>
        <c:lblAlgn val="ctr"/>
        <c:lblOffset val="100"/>
        <c:noMultiLvlLbl val="0"/>
      </c:catAx>
      <c:valAx>
        <c:axId val="58069596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580699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0" i="0" u="none" strike="noStrike" kern="1200" spc="0" baseline="0">
                <a:solidFill>
                  <a:schemeClr val="tx1"/>
                </a:solidFill>
                <a:latin typeface="Verdana" panose="020B0604030504040204" pitchFamily="34" charset="0"/>
                <a:ea typeface="Verdana" panose="020B0604030504040204" pitchFamily="34" charset="0"/>
                <a:cs typeface="+mn-cs"/>
              </a:defRPr>
            </a:pPr>
            <a:r>
              <a:rPr lang="fi-FI" sz="700"/>
              <a:t>Maarakennuskustannusindeksi</a:t>
            </a:r>
          </a:p>
          <a:p>
            <a:pPr>
              <a:defRPr sz="700"/>
            </a:pPr>
            <a:r>
              <a:rPr lang="fi-FI" sz="700"/>
              <a:t>Vuosimuutos-%, indeksi 2015=100</a:t>
            </a:r>
          </a:p>
        </c:rich>
      </c:tx>
      <c:overlay val="0"/>
      <c:spPr>
        <a:noFill/>
        <a:ln>
          <a:noFill/>
        </a:ln>
        <a:effectLst/>
      </c:spPr>
      <c:txPr>
        <a:bodyPr rot="0" spcFirstLastPara="1" vertOverflow="ellipsis" vert="horz" wrap="square" anchor="ctr" anchorCtr="1"/>
        <a:lstStyle/>
        <a:p>
          <a:pPr>
            <a:defRPr sz="700" b="0" i="0" u="none" strike="noStrike" kern="1200" spc="0" baseline="0">
              <a:solidFill>
                <a:schemeClr val="tx1"/>
              </a:solidFill>
              <a:latin typeface="Verdana" panose="020B0604030504040204" pitchFamily="34" charset="0"/>
              <a:ea typeface="Verdana" panose="020B0604030504040204" pitchFamily="34" charset="0"/>
              <a:cs typeface="+mn-cs"/>
            </a:defRPr>
          </a:pPr>
          <a:endParaRPr lang="fi-FI"/>
        </a:p>
      </c:txPr>
    </c:title>
    <c:autoTitleDeleted val="0"/>
    <c:plotArea>
      <c:layout/>
      <c:lineChart>
        <c:grouping val="standard"/>
        <c:varyColors val="0"/>
        <c:ser>
          <c:idx val="0"/>
          <c:order val="0"/>
          <c:tx>
            <c:strRef>
              <c:f>'001_114x_2023m07'!$A$5</c:f>
              <c:strCache>
                <c:ptCount val="1"/>
                <c:pt idx="0">
                  <c:v>Kokonaisindeksi</c:v>
                </c:pt>
              </c:strCache>
            </c:strRef>
          </c:tx>
          <c:spPr>
            <a:ln w="28575" cap="rnd">
              <a:solidFill>
                <a:schemeClr val="accent1"/>
              </a:solidFill>
              <a:round/>
            </a:ln>
            <a:effectLst/>
          </c:spPr>
          <c:marker>
            <c:symbol val="none"/>
          </c:marker>
          <c:cat>
            <c:strRef>
              <c:f>'001_114x_2023m07'!$B$4:$BD$4</c:f>
              <c:strCache>
                <c:ptCount val="55"/>
                <c:pt idx="0">
                  <c:v>2019</c:v>
                </c:pt>
                <c:pt idx="1">
                  <c:v>2019M02</c:v>
                </c:pt>
                <c:pt idx="2">
                  <c:v>2019M03</c:v>
                </c:pt>
                <c:pt idx="3">
                  <c:v>2019M04</c:v>
                </c:pt>
                <c:pt idx="4">
                  <c:v>2019M05</c:v>
                </c:pt>
                <c:pt idx="5">
                  <c:v>2019M06</c:v>
                </c:pt>
                <c:pt idx="6">
                  <c:v>2019M07</c:v>
                </c:pt>
                <c:pt idx="7">
                  <c:v>2019M08</c:v>
                </c:pt>
                <c:pt idx="8">
                  <c:v>2019M09</c:v>
                </c:pt>
                <c:pt idx="9">
                  <c:v>2019M10</c:v>
                </c:pt>
                <c:pt idx="10">
                  <c:v>2019M11</c:v>
                </c:pt>
                <c:pt idx="11">
                  <c:v>2019M12</c:v>
                </c:pt>
                <c:pt idx="12">
                  <c:v>2020</c:v>
                </c:pt>
                <c:pt idx="13">
                  <c:v>2020M02</c:v>
                </c:pt>
                <c:pt idx="14">
                  <c:v>2020M03</c:v>
                </c:pt>
                <c:pt idx="15">
                  <c:v>2020M04</c:v>
                </c:pt>
                <c:pt idx="16">
                  <c:v>2020M05</c:v>
                </c:pt>
                <c:pt idx="17">
                  <c:v>2020M06</c:v>
                </c:pt>
                <c:pt idx="18">
                  <c:v>2020M07</c:v>
                </c:pt>
                <c:pt idx="19">
                  <c:v>2020M08</c:v>
                </c:pt>
                <c:pt idx="20">
                  <c:v>2020M09</c:v>
                </c:pt>
                <c:pt idx="21">
                  <c:v>2020M10</c:v>
                </c:pt>
                <c:pt idx="22">
                  <c:v>2020M11</c:v>
                </c:pt>
                <c:pt idx="23">
                  <c:v>2020M12</c:v>
                </c:pt>
                <c:pt idx="24">
                  <c:v>2021</c:v>
                </c:pt>
                <c:pt idx="25">
                  <c:v>2021M02</c:v>
                </c:pt>
                <c:pt idx="26">
                  <c:v>2021M03</c:v>
                </c:pt>
                <c:pt idx="27">
                  <c:v>2021M04</c:v>
                </c:pt>
                <c:pt idx="28">
                  <c:v>2021M05</c:v>
                </c:pt>
                <c:pt idx="29">
                  <c:v>2021M06</c:v>
                </c:pt>
                <c:pt idx="30">
                  <c:v>2021M07</c:v>
                </c:pt>
                <c:pt idx="31">
                  <c:v>2021M08</c:v>
                </c:pt>
                <c:pt idx="32">
                  <c:v>2021M09</c:v>
                </c:pt>
                <c:pt idx="33">
                  <c:v>2021M10</c:v>
                </c:pt>
                <c:pt idx="34">
                  <c:v>2021M11</c:v>
                </c:pt>
                <c:pt idx="35">
                  <c:v>2021M12</c:v>
                </c:pt>
                <c:pt idx="36">
                  <c:v>2022</c:v>
                </c:pt>
                <c:pt idx="37">
                  <c:v>2022M02</c:v>
                </c:pt>
                <c:pt idx="38">
                  <c:v>2022M03</c:v>
                </c:pt>
                <c:pt idx="39">
                  <c:v>2022M04</c:v>
                </c:pt>
                <c:pt idx="40">
                  <c:v>2022M05</c:v>
                </c:pt>
                <c:pt idx="41">
                  <c:v>2022M06</c:v>
                </c:pt>
                <c:pt idx="42">
                  <c:v>2022M07</c:v>
                </c:pt>
                <c:pt idx="43">
                  <c:v>2022M08</c:v>
                </c:pt>
                <c:pt idx="44">
                  <c:v>2022M09</c:v>
                </c:pt>
                <c:pt idx="45">
                  <c:v>2022M10</c:v>
                </c:pt>
                <c:pt idx="46">
                  <c:v>2022M11</c:v>
                </c:pt>
                <c:pt idx="47">
                  <c:v>2022M12</c:v>
                </c:pt>
                <c:pt idx="48">
                  <c:v>2023</c:v>
                </c:pt>
                <c:pt idx="49">
                  <c:v>2023M02</c:v>
                </c:pt>
                <c:pt idx="50">
                  <c:v>2023M03</c:v>
                </c:pt>
                <c:pt idx="51">
                  <c:v>2023M04</c:v>
                </c:pt>
                <c:pt idx="52">
                  <c:v>2023M05</c:v>
                </c:pt>
                <c:pt idx="53">
                  <c:v>2023M06</c:v>
                </c:pt>
                <c:pt idx="54">
                  <c:v>2023M07</c:v>
                </c:pt>
              </c:strCache>
            </c:strRef>
          </c:cat>
          <c:val>
            <c:numRef>
              <c:f>'001_114x_2023m07'!$B$5:$BD$5</c:f>
              <c:numCache>
                <c:formatCode>0.0</c:formatCode>
                <c:ptCount val="55"/>
                <c:pt idx="0">
                  <c:v>1.8</c:v>
                </c:pt>
                <c:pt idx="1">
                  <c:v>2</c:v>
                </c:pt>
                <c:pt idx="2">
                  <c:v>3.8</c:v>
                </c:pt>
                <c:pt idx="3">
                  <c:v>4.0999999999999996</c:v>
                </c:pt>
                <c:pt idx="4">
                  <c:v>4.0999999999999996</c:v>
                </c:pt>
                <c:pt idx="5">
                  <c:v>2.2999999999999998</c:v>
                </c:pt>
                <c:pt idx="6">
                  <c:v>1.5</c:v>
                </c:pt>
                <c:pt idx="7">
                  <c:v>1.6</c:v>
                </c:pt>
                <c:pt idx="8">
                  <c:v>-0.5</c:v>
                </c:pt>
                <c:pt idx="9">
                  <c:v>-0.2</c:v>
                </c:pt>
                <c:pt idx="10">
                  <c:v>-2.4</c:v>
                </c:pt>
                <c:pt idx="11">
                  <c:v>-1.4</c:v>
                </c:pt>
                <c:pt idx="12">
                  <c:v>1.6</c:v>
                </c:pt>
                <c:pt idx="13">
                  <c:v>0.6</c:v>
                </c:pt>
                <c:pt idx="14">
                  <c:v>-2</c:v>
                </c:pt>
                <c:pt idx="15">
                  <c:v>-5.5</c:v>
                </c:pt>
                <c:pt idx="16">
                  <c:v>-6.8</c:v>
                </c:pt>
                <c:pt idx="17">
                  <c:v>-5.3</c:v>
                </c:pt>
                <c:pt idx="18">
                  <c:v>-4.2</c:v>
                </c:pt>
                <c:pt idx="19">
                  <c:v>-4.5999999999999996</c:v>
                </c:pt>
                <c:pt idx="20">
                  <c:v>-2.5</c:v>
                </c:pt>
                <c:pt idx="21">
                  <c:v>-3.1</c:v>
                </c:pt>
                <c:pt idx="22">
                  <c:v>-1.5</c:v>
                </c:pt>
                <c:pt idx="23">
                  <c:v>-0.3</c:v>
                </c:pt>
                <c:pt idx="24">
                  <c:v>-1.5</c:v>
                </c:pt>
                <c:pt idx="25">
                  <c:v>1.7</c:v>
                </c:pt>
                <c:pt idx="26">
                  <c:v>4.2</c:v>
                </c:pt>
                <c:pt idx="27">
                  <c:v>7.4</c:v>
                </c:pt>
                <c:pt idx="28">
                  <c:v>8.6</c:v>
                </c:pt>
                <c:pt idx="29">
                  <c:v>8.1999999999999993</c:v>
                </c:pt>
                <c:pt idx="30">
                  <c:v>8.3000000000000007</c:v>
                </c:pt>
                <c:pt idx="31">
                  <c:v>9.4</c:v>
                </c:pt>
                <c:pt idx="32">
                  <c:v>8.9</c:v>
                </c:pt>
                <c:pt idx="33">
                  <c:v>10.3</c:v>
                </c:pt>
                <c:pt idx="34">
                  <c:v>11.5</c:v>
                </c:pt>
                <c:pt idx="35">
                  <c:v>10.4</c:v>
                </c:pt>
                <c:pt idx="36">
                  <c:v>10.6</c:v>
                </c:pt>
                <c:pt idx="37">
                  <c:v>9.3000000000000007</c:v>
                </c:pt>
                <c:pt idx="38">
                  <c:v>11.3</c:v>
                </c:pt>
                <c:pt idx="39">
                  <c:v>15.5</c:v>
                </c:pt>
                <c:pt idx="40">
                  <c:v>16</c:v>
                </c:pt>
                <c:pt idx="41">
                  <c:v>18.100000000000001</c:v>
                </c:pt>
                <c:pt idx="42">
                  <c:v>18.100000000000001</c:v>
                </c:pt>
                <c:pt idx="43">
                  <c:v>15.2</c:v>
                </c:pt>
                <c:pt idx="44">
                  <c:v>15.6</c:v>
                </c:pt>
                <c:pt idx="45">
                  <c:v>14.3</c:v>
                </c:pt>
                <c:pt idx="46">
                  <c:v>12.6</c:v>
                </c:pt>
                <c:pt idx="47">
                  <c:v>11.8</c:v>
                </c:pt>
                <c:pt idx="48">
                  <c:v>11.5</c:v>
                </c:pt>
                <c:pt idx="49">
                  <c:v>10</c:v>
                </c:pt>
                <c:pt idx="50">
                  <c:v>7.2</c:v>
                </c:pt>
                <c:pt idx="51">
                  <c:v>3.7</c:v>
                </c:pt>
                <c:pt idx="52">
                  <c:v>4</c:v>
                </c:pt>
                <c:pt idx="53">
                  <c:v>1.4</c:v>
                </c:pt>
                <c:pt idx="54">
                  <c:v>1.4</c:v>
                </c:pt>
              </c:numCache>
            </c:numRef>
          </c:val>
          <c:smooth val="0"/>
          <c:extLst>
            <c:ext xmlns:c16="http://schemas.microsoft.com/office/drawing/2014/chart" uri="{C3380CC4-5D6E-409C-BE32-E72D297353CC}">
              <c16:uniqueId val="{00000000-6237-447B-8A92-540E6F97C297}"/>
            </c:ext>
          </c:extLst>
        </c:ser>
        <c:ser>
          <c:idx val="1"/>
          <c:order val="1"/>
          <c:tx>
            <c:strRef>
              <c:f>'001_114x_2023m07'!$A$6</c:f>
              <c:strCache>
                <c:ptCount val="1"/>
                <c:pt idx="0">
                  <c:v>Päällysteet</c:v>
                </c:pt>
              </c:strCache>
            </c:strRef>
          </c:tx>
          <c:spPr>
            <a:ln w="28575" cap="rnd">
              <a:solidFill>
                <a:schemeClr val="accent2"/>
              </a:solidFill>
              <a:round/>
            </a:ln>
            <a:effectLst/>
          </c:spPr>
          <c:marker>
            <c:symbol val="none"/>
          </c:marker>
          <c:cat>
            <c:strRef>
              <c:f>'001_114x_2023m07'!$B$4:$BD$4</c:f>
              <c:strCache>
                <c:ptCount val="55"/>
                <c:pt idx="0">
                  <c:v>2019</c:v>
                </c:pt>
                <c:pt idx="1">
                  <c:v>2019M02</c:v>
                </c:pt>
                <c:pt idx="2">
                  <c:v>2019M03</c:v>
                </c:pt>
                <c:pt idx="3">
                  <c:v>2019M04</c:v>
                </c:pt>
                <c:pt idx="4">
                  <c:v>2019M05</c:v>
                </c:pt>
                <c:pt idx="5">
                  <c:v>2019M06</c:v>
                </c:pt>
                <c:pt idx="6">
                  <c:v>2019M07</c:v>
                </c:pt>
                <c:pt idx="7">
                  <c:v>2019M08</c:v>
                </c:pt>
                <c:pt idx="8">
                  <c:v>2019M09</c:v>
                </c:pt>
                <c:pt idx="9">
                  <c:v>2019M10</c:v>
                </c:pt>
                <c:pt idx="10">
                  <c:v>2019M11</c:v>
                </c:pt>
                <c:pt idx="11">
                  <c:v>2019M12</c:v>
                </c:pt>
                <c:pt idx="12">
                  <c:v>2020</c:v>
                </c:pt>
                <c:pt idx="13">
                  <c:v>2020M02</c:v>
                </c:pt>
                <c:pt idx="14">
                  <c:v>2020M03</c:v>
                </c:pt>
                <c:pt idx="15">
                  <c:v>2020M04</c:v>
                </c:pt>
                <c:pt idx="16">
                  <c:v>2020M05</c:v>
                </c:pt>
                <c:pt idx="17">
                  <c:v>2020M06</c:v>
                </c:pt>
                <c:pt idx="18">
                  <c:v>2020M07</c:v>
                </c:pt>
                <c:pt idx="19">
                  <c:v>2020M08</c:v>
                </c:pt>
                <c:pt idx="20">
                  <c:v>2020M09</c:v>
                </c:pt>
                <c:pt idx="21">
                  <c:v>2020M10</c:v>
                </c:pt>
                <c:pt idx="22">
                  <c:v>2020M11</c:v>
                </c:pt>
                <c:pt idx="23">
                  <c:v>2020M12</c:v>
                </c:pt>
                <c:pt idx="24">
                  <c:v>2021</c:v>
                </c:pt>
                <c:pt idx="25">
                  <c:v>2021M02</c:v>
                </c:pt>
                <c:pt idx="26">
                  <c:v>2021M03</c:v>
                </c:pt>
                <c:pt idx="27">
                  <c:v>2021M04</c:v>
                </c:pt>
                <c:pt idx="28">
                  <c:v>2021M05</c:v>
                </c:pt>
                <c:pt idx="29">
                  <c:v>2021M06</c:v>
                </c:pt>
                <c:pt idx="30">
                  <c:v>2021M07</c:v>
                </c:pt>
                <c:pt idx="31">
                  <c:v>2021M08</c:v>
                </c:pt>
                <c:pt idx="32">
                  <c:v>2021M09</c:v>
                </c:pt>
                <c:pt idx="33">
                  <c:v>2021M10</c:v>
                </c:pt>
                <c:pt idx="34">
                  <c:v>2021M11</c:v>
                </c:pt>
                <c:pt idx="35">
                  <c:v>2021M12</c:v>
                </c:pt>
                <c:pt idx="36">
                  <c:v>2022</c:v>
                </c:pt>
                <c:pt idx="37">
                  <c:v>2022M02</c:v>
                </c:pt>
                <c:pt idx="38">
                  <c:v>2022M03</c:v>
                </c:pt>
                <c:pt idx="39">
                  <c:v>2022M04</c:v>
                </c:pt>
                <c:pt idx="40">
                  <c:v>2022M05</c:v>
                </c:pt>
                <c:pt idx="41">
                  <c:v>2022M06</c:v>
                </c:pt>
                <c:pt idx="42">
                  <c:v>2022M07</c:v>
                </c:pt>
                <c:pt idx="43">
                  <c:v>2022M08</c:v>
                </c:pt>
                <c:pt idx="44">
                  <c:v>2022M09</c:v>
                </c:pt>
                <c:pt idx="45">
                  <c:v>2022M10</c:v>
                </c:pt>
                <c:pt idx="46">
                  <c:v>2022M11</c:v>
                </c:pt>
                <c:pt idx="47">
                  <c:v>2022M12</c:v>
                </c:pt>
                <c:pt idx="48">
                  <c:v>2023</c:v>
                </c:pt>
                <c:pt idx="49">
                  <c:v>2023M02</c:v>
                </c:pt>
                <c:pt idx="50">
                  <c:v>2023M03</c:v>
                </c:pt>
                <c:pt idx="51">
                  <c:v>2023M04</c:v>
                </c:pt>
                <c:pt idx="52">
                  <c:v>2023M05</c:v>
                </c:pt>
                <c:pt idx="53">
                  <c:v>2023M06</c:v>
                </c:pt>
                <c:pt idx="54">
                  <c:v>2023M07</c:v>
                </c:pt>
              </c:strCache>
            </c:strRef>
          </c:cat>
          <c:val>
            <c:numRef>
              <c:f>'001_114x_2023m07'!$B$6:$BD$6</c:f>
              <c:numCache>
                <c:formatCode>0.0</c:formatCode>
                <c:ptCount val="55"/>
                <c:pt idx="0">
                  <c:v>1.8</c:v>
                </c:pt>
                <c:pt idx="1">
                  <c:v>1.8</c:v>
                </c:pt>
                <c:pt idx="2">
                  <c:v>9.1999999999999993</c:v>
                </c:pt>
                <c:pt idx="3">
                  <c:v>11.6</c:v>
                </c:pt>
                <c:pt idx="4">
                  <c:v>10.5</c:v>
                </c:pt>
                <c:pt idx="5">
                  <c:v>1.8</c:v>
                </c:pt>
                <c:pt idx="6">
                  <c:v>-2.8</c:v>
                </c:pt>
                <c:pt idx="7">
                  <c:v>-1.8</c:v>
                </c:pt>
                <c:pt idx="8">
                  <c:v>-9.6</c:v>
                </c:pt>
                <c:pt idx="9">
                  <c:v>-7</c:v>
                </c:pt>
                <c:pt idx="10">
                  <c:v>-18.3</c:v>
                </c:pt>
                <c:pt idx="11">
                  <c:v>-15.5</c:v>
                </c:pt>
                <c:pt idx="12">
                  <c:v>5.0999999999999996</c:v>
                </c:pt>
                <c:pt idx="13">
                  <c:v>3.4</c:v>
                </c:pt>
                <c:pt idx="14">
                  <c:v>-5.8</c:v>
                </c:pt>
                <c:pt idx="15">
                  <c:v>-21</c:v>
                </c:pt>
                <c:pt idx="16">
                  <c:v>-25.6</c:v>
                </c:pt>
                <c:pt idx="17">
                  <c:v>-21</c:v>
                </c:pt>
                <c:pt idx="18">
                  <c:v>-14</c:v>
                </c:pt>
                <c:pt idx="19">
                  <c:v>-14.8</c:v>
                </c:pt>
                <c:pt idx="20">
                  <c:v>-6.7</c:v>
                </c:pt>
                <c:pt idx="21">
                  <c:v>-11.7</c:v>
                </c:pt>
                <c:pt idx="22">
                  <c:v>-3.4</c:v>
                </c:pt>
                <c:pt idx="23">
                  <c:v>2.2000000000000002</c:v>
                </c:pt>
                <c:pt idx="24">
                  <c:v>-8.3000000000000007</c:v>
                </c:pt>
                <c:pt idx="25">
                  <c:v>3.2</c:v>
                </c:pt>
                <c:pt idx="26">
                  <c:v>11.9</c:v>
                </c:pt>
                <c:pt idx="27">
                  <c:v>30.9</c:v>
                </c:pt>
                <c:pt idx="28">
                  <c:v>35.299999999999997</c:v>
                </c:pt>
                <c:pt idx="29">
                  <c:v>30.4</c:v>
                </c:pt>
                <c:pt idx="30">
                  <c:v>27.6</c:v>
                </c:pt>
                <c:pt idx="31">
                  <c:v>28.2</c:v>
                </c:pt>
                <c:pt idx="32">
                  <c:v>26.2</c:v>
                </c:pt>
                <c:pt idx="33">
                  <c:v>32.200000000000003</c:v>
                </c:pt>
                <c:pt idx="34">
                  <c:v>39</c:v>
                </c:pt>
                <c:pt idx="35">
                  <c:v>32.299999999999997</c:v>
                </c:pt>
                <c:pt idx="36">
                  <c:v>25.5</c:v>
                </c:pt>
                <c:pt idx="37">
                  <c:v>18.5</c:v>
                </c:pt>
                <c:pt idx="38">
                  <c:v>20.399999999999999</c:v>
                </c:pt>
                <c:pt idx="39">
                  <c:v>33.1</c:v>
                </c:pt>
                <c:pt idx="40">
                  <c:v>34.700000000000003</c:v>
                </c:pt>
                <c:pt idx="41">
                  <c:v>40.4</c:v>
                </c:pt>
                <c:pt idx="42">
                  <c:v>34.6</c:v>
                </c:pt>
                <c:pt idx="43">
                  <c:v>23.2</c:v>
                </c:pt>
                <c:pt idx="44">
                  <c:v>27.5</c:v>
                </c:pt>
                <c:pt idx="45">
                  <c:v>17.399999999999999</c:v>
                </c:pt>
                <c:pt idx="46">
                  <c:v>10.4</c:v>
                </c:pt>
                <c:pt idx="47">
                  <c:v>10.6</c:v>
                </c:pt>
                <c:pt idx="48">
                  <c:v>11.8</c:v>
                </c:pt>
                <c:pt idx="49">
                  <c:v>6.6</c:v>
                </c:pt>
                <c:pt idx="50">
                  <c:v>2</c:v>
                </c:pt>
                <c:pt idx="51">
                  <c:v>-5.9</c:v>
                </c:pt>
                <c:pt idx="52">
                  <c:v>-3.2</c:v>
                </c:pt>
                <c:pt idx="53">
                  <c:v>-9</c:v>
                </c:pt>
                <c:pt idx="54">
                  <c:v>-5.6</c:v>
                </c:pt>
              </c:numCache>
            </c:numRef>
          </c:val>
          <c:smooth val="0"/>
          <c:extLst>
            <c:ext xmlns:c16="http://schemas.microsoft.com/office/drawing/2014/chart" uri="{C3380CC4-5D6E-409C-BE32-E72D297353CC}">
              <c16:uniqueId val="{00000001-6237-447B-8A92-540E6F97C297}"/>
            </c:ext>
          </c:extLst>
        </c:ser>
        <c:ser>
          <c:idx val="2"/>
          <c:order val="2"/>
          <c:tx>
            <c:strRef>
              <c:f>'001_114x_2023m07'!$A$7</c:f>
              <c:strCache>
                <c:ptCount val="1"/>
                <c:pt idx="0">
                  <c:v>Betonirakenteet</c:v>
                </c:pt>
              </c:strCache>
            </c:strRef>
          </c:tx>
          <c:spPr>
            <a:ln w="28575" cap="rnd">
              <a:solidFill>
                <a:schemeClr val="accent3"/>
              </a:solidFill>
              <a:round/>
            </a:ln>
            <a:effectLst/>
          </c:spPr>
          <c:marker>
            <c:symbol val="none"/>
          </c:marker>
          <c:cat>
            <c:strRef>
              <c:f>'001_114x_2023m07'!$B$4:$BD$4</c:f>
              <c:strCache>
                <c:ptCount val="55"/>
                <c:pt idx="0">
                  <c:v>2019</c:v>
                </c:pt>
                <c:pt idx="1">
                  <c:v>2019M02</c:v>
                </c:pt>
                <c:pt idx="2">
                  <c:v>2019M03</c:v>
                </c:pt>
                <c:pt idx="3">
                  <c:v>2019M04</c:v>
                </c:pt>
                <c:pt idx="4">
                  <c:v>2019M05</c:v>
                </c:pt>
                <c:pt idx="5">
                  <c:v>2019M06</c:v>
                </c:pt>
                <c:pt idx="6">
                  <c:v>2019M07</c:v>
                </c:pt>
                <c:pt idx="7">
                  <c:v>2019M08</c:v>
                </c:pt>
                <c:pt idx="8">
                  <c:v>2019M09</c:v>
                </c:pt>
                <c:pt idx="9">
                  <c:v>2019M10</c:v>
                </c:pt>
                <c:pt idx="10">
                  <c:v>2019M11</c:v>
                </c:pt>
                <c:pt idx="11">
                  <c:v>2019M12</c:v>
                </c:pt>
                <c:pt idx="12">
                  <c:v>2020</c:v>
                </c:pt>
                <c:pt idx="13">
                  <c:v>2020M02</c:v>
                </c:pt>
                <c:pt idx="14">
                  <c:v>2020M03</c:v>
                </c:pt>
                <c:pt idx="15">
                  <c:v>2020M04</c:v>
                </c:pt>
                <c:pt idx="16">
                  <c:v>2020M05</c:v>
                </c:pt>
                <c:pt idx="17">
                  <c:v>2020M06</c:v>
                </c:pt>
                <c:pt idx="18">
                  <c:v>2020M07</c:v>
                </c:pt>
                <c:pt idx="19">
                  <c:v>2020M08</c:v>
                </c:pt>
                <c:pt idx="20">
                  <c:v>2020M09</c:v>
                </c:pt>
                <c:pt idx="21">
                  <c:v>2020M10</c:v>
                </c:pt>
                <c:pt idx="22">
                  <c:v>2020M11</c:v>
                </c:pt>
                <c:pt idx="23">
                  <c:v>2020M12</c:v>
                </c:pt>
                <c:pt idx="24">
                  <c:v>2021</c:v>
                </c:pt>
                <c:pt idx="25">
                  <c:v>2021M02</c:v>
                </c:pt>
                <c:pt idx="26">
                  <c:v>2021M03</c:v>
                </c:pt>
                <c:pt idx="27">
                  <c:v>2021M04</c:v>
                </c:pt>
                <c:pt idx="28">
                  <c:v>2021M05</c:v>
                </c:pt>
                <c:pt idx="29">
                  <c:v>2021M06</c:v>
                </c:pt>
                <c:pt idx="30">
                  <c:v>2021M07</c:v>
                </c:pt>
                <c:pt idx="31">
                  <c:v>2021M08</c:v>
                </c:pt>
                <c:pt idx="32">
                  <c:v>2021M09</c:v>
                </c:pt>
                <c:pt idx="33">
                  <c:v>2021M10</c:v>
                </c:pt>
                <c:pt idx="34">
                  <c:v>2021M11</c:v>
                </c:pt>
                <c:pt idx="35">
                  <c:v>2021M12</c:v>
                </c:pt>
                <c:pt idx="36">
                  <c:v>2022</c:v>
                </c:pt>
                <c:pt idx="37">
                  <c:v>2022M02</c:v>
                </c:pt>
                <c:pt idx="38">
                  <c:v>2022M03</c:v>
                </c:pt>
                <c:pt idx="39">
                  <c:v>2022M04</c:v>
                </c:pt>
                <c:pt idx="40">
                  <c:v>2022M05</c:v>
                </c:pt>
                <c:pt idx="41">
                  <c:v>2022M06</c:v>
                </c:pt>
                <c:pt idx="42">
                  <c:v>2022M07</c:v>
                </c:pt>
                <c:pt idx="43">
                  <c:v>2022M08</c:v>
                </c:pt>
                <c:pt idx="44">
                  <c:v>2022M09</c:v>
                </c:pt>
                <c:pt idx="45">
                  <c:v>2022M10</c:v>
                </c:pt>
                <c:pt idx="46">
                  <c:v>2022M11</c:v>
                </c:pt>
                <c:pt idx="47">
                  <c:v>2022M12</c:v>
                </c:pt>
                <c:pt idx="48">
                  <c:v>2023</c:v>
                </c:pt>
                <c:pt idx="49">
                  <c:v>2023M02</c:v>
                </c:pt>
                <c:pt idx="50">
                  <c:v>2023M03</c:v>
                </c:pt>
                <c:pt idx="51">
                  <c:v>2023M04</c:v>
                </c:pt>
                <c:pt idx="52">
                  <c:v>2023M05</c:v>
                </c:pt>
                <c:pt idx="53">
                  <c:v>2023M06</c:v>
                </c:pt>
                <c:pt idx="54">
                  <c:v>2023M07</c:v>
                </c:pt>
              </c:strCache>
            </c:strRef>
          </c:cat>
          <c:val>
            <c:numRef>
              <c:f>'001_114x_2023m07'!$B$7:$BD$7</c:f>
              <c:numCache>
                <c:formatCode>0.0</c:formatCode>
                <c:ptCount val="55"/>
                <c:pt idx="0">
                  <c:v>0.9</c:v>
                </c:pt>
                <c:pt idx="1">
                  <c:v>0.8</c:v>
                </c:pt>
                <c:pt idx="2">
                  <c:v>1.6</c:v>
                </c:pt>
                <c:pt idx="3">
                  <c:v>2.2000000000000002</c:v>
                </c:pt>
                <c:pt idx="4">
                  <c:v>2.2000000000000002</c:v>
                </c:pt>
                <c:pt idx="5">
                  <c:v>1.6</c:v>
                </c:pt>
                <c:pt idx="6">
                  <c:v>0.7</c:v>
                </c:pt>
                <c:pt idx="7">
                  <c:v>1.5</c:v>
                </c:pt>
                <c:pt idx="8">
                  <c:v>0.8</c:v>
                </c:pt>
                <c:pt idx="9">
                  <c:v>0.4</c:v>
                </c:pt>
                <c:pt idx="10">
                  <c:v>-0.8</c:v>
                </c:pt>
                <c:pt idx="11">
                  <c:v>-0.6</c:v>
                </c:pt>
                <c:pt idx="12">
                  <c:v>0.4</c:v>
                </c:pt>
                <c:pt idx="13">
                  <c:v>-0.1</c:v>
                </c:pt>
                <c:pt idx="14">
                  <c:v>-1.3</c:v>
                </c:pt>
                <c:pt idx="15">
                  <c:v>-1.9</c:v>
                </c:pt>
                <c:pt idx="16">
                  <c:v>-1.6</c:v>
                </c:pt>
                <c:pt idx="17">
                  <c:v>-1.8</c:v>
                </c:pt>
                <c:pt idx="18">
                  <c:v>-1.6</c:v>
                </c:pt>
                <c:pt idx="19">
                  <c:v>-2.5</c:v>
                </c:pt>
                <c:pt idx="20">
                  <c:v>-1.6</c:v>
                </c:pt>
                <c:pt idx="21">
                  <c:v>-1.1000000000000001</c:v>
                </c:pt>
                <c:pt idx="22">
                  <c:v>-1</c:v>
                </c:pt>
                <c:pt idx="23">
                  <c:v>-0.9</c:v>
                </c:pt>
                <c:pt idx="24">
                  <c:v>-0.5</c:v>
                </c:pt>
                <c:pt idx="25">
                  <c:v>0.8</c:v>
                </c:pt>
                <c:pt idx="26">
                  <c:v>2.2000000000000002</c:v>
                </c:pt>
                <c:pt idx="27">
                  <c:v>3.2</c:v>
                </c:pt>
                <c:pt idx="28">
                  <c:v>4.0999999999999996</c:v>
                </c:pt>
                <c:pt idx="29">
                  <c:v>5.5</c:v>
                </c:pt>
                <c:pt idx="30">
                  <c:v>7.2</c:v>
                </c:pt>
                <c:pt idx="31">
                  <c:v>10.199999999999999</c:v>
                </c:pt>
                <c:pt idx="32">
                  <c:v>10.1</c:v>
                </c:pt>
                <c:pt idx="33">
                  <c:v>10.3</c:v>
                </c:pt>
                <c:pt idx="34">
                  <c:v>10.7</c:v>
                </c:pt>
                <c:pt idx="35">
                  <c:v>11.9</c:v>
                </c:pt>
                <c:pt idx="36">
                  <c:v>10.8</c:v>
                </c:pt>
                <c:pt idx="37">
                  <c:v>10.7</c:v>
                </c:pt>
                <c:pt idx="38">
                  <c:v>10.1</c:v>
                </c:pt>
                <c:pt idx="39">
                  <c:v>12.8</c:v>
                </c:pt>
                <c:pt idx="40">
                  <c:v>13.7</c:v>
                </c:pt>
                <c:pt idx="41">
                  <c:v>14.3</c:v>
                </c:pt>
                <c:pt idx="42">
                  <c:v>12.7</c:v>
                </c:pt>
                <c:pt idx="43">
                  <c:v>9.1999999999999993</c:v>
                </c:pt>
                <c:pt idx="44">
                  <c:v>8.5</c:v>
                </c:pt>
                <c:pt idx="45">
                  <c:v>7</c:v>
                </c:pt>
                <c:pt idx="46">
                  <c:v>6.6</c:v>
                </c:pt>
                <c:pt idx="47">
                  <c:v>5.2</c:v>
                </c:pt>
                <c:pt idx="48">
                  <c:v>5.3</c:v>
                </c:pt>
                <c:pt idx="49">
                  <c:v>4.5</c:v>
                </c:pt>
                <c:pt idx="50">
                  <c:v>4.3</c:v>
                </c:pt>
                <c:pt idx="51">
                  <c:v>0.9</c:v>
                </c:pt>
                <c:pt idx="52">
                  <c:v>1.3</c:v>
                </c:pt>
                <c:pt idx="53">
                  <c:v>-0.5</c:v>
                </c:pt>
                <c:pt idx="54">
                  <c:v>-0.9</c:v>
                </c:pt>
              </c:numCache>
            </c:numRef>
          </c:val>
          <c:smooth val="0"/>
          <c:extLst>
            <c:ext xmlns:c16="http://schemas.microsoft.com/office/drawing/2014/chart" uri="{C3380CC4-5D6E-409C-BE32-E72D297353CC}">
              <c16:uniqueId val="{00000002-6237-447B-8A92-540E6F97C297}"/>
            </c:ext>
          </c:extLst>
        </c:ser>
        <c:ser>
          <c:idx val="3"/>
          <c:order val="3"/>
          <c:tx>
            <c:strRef>
              <c:f>'001_114x_2023m07'!$A$8</c:f>
              <c:strCache>
                <c:ptCount val="1"/>
                <c:pt idx="0">
                  <c:v>Ylläpito</c:v>
                </c:pt>
              </c:strCache>
            </c:strRef>
          </c:tx>
          <c:spPr>
            <a:ln w="28575" cap="rnd">
              <a:solidFill>
                <a:schemeClr val="accent4"/>
              </a:solidFill>
              <a:round/>
            </a:ln>
            <a:effectLst/>
          </c:spPr>
          <c:marker>
            <c:symbol val="none"/>
          </c:marker>
          <c:cat>
            <c:strRef>
              <c:f>'001_114x_2023m07'!$B$4:$BD$4</c:f>
              <c:strCache>
                <c:ptCount val="55"/>
                <c:pt idx="0">
                  <c:v>2019</c:v>
                </c:pt>
                <c:pt idx="1">
                  <c:v>2019M02</c:v>
                </c:pt>
                <c:pt idx="2">
                  <c:v>2019M03</c:v>
                </c:pt>
                <c:pt idx="3">
                  <c:v>2019M04</c:v>
                </c:pt>
                <c:pt idx="4">
                  <c:v>2019M05</c:v>
                </c:pt>
                <c:pt idx="5">
                  <c:v>2019M06</c:v>
                </c:pt>
                <c:pt idx="6">
                  <c:v>2019M07</c:v>
                </c:pt>
                <c:pt idx="7">
                  <c:v>2019M08</c:v>
                </c:pt>
                <c:pt idx="8">
                  <c:v>2019M09</c:v>
                </c:pt>
                <c:pt idx="9">
                  <c:v>2019M10</c:v>
                </c:pt>
                <c:pt idx="10">
                  <c:v>2019M11</c:v>
                </c:pt>
                <c:pt idx="11">
                  <c:v>2019M12</c:v>
                </c:pt>
                <c:pt idx="12">
                  <c:v>2020</c:v>
                </c:pt>
                <c:pt idx="13">
                  <c:v>2020M02</c:v>
                </c:pt>
                <c:pt idx="14">
                  <c:v>2020M03</c:v>
                </c:pt>
                <c:pt idx="15">
                  <c:v>2020M04</c:v>
                </c:pt>
                <c:pt idx="16">
                  <c:v>2020M05</c:v>
                </c:pt>
                <c:pt idx="17">
                  <c:v>2020M06</c:v>
                </c:pt>
                <c:pt idx="18">
                  <c:v>2020M07</c:v>
                </c:pt>
                <c:pt idx="19">
                  <c:v>2020M08</c:v>
                </c:pt>
                <c:pt idx="20">
                  <c:v>2020M09</c:v>
                </c:pt>
                <c:pt idx="21">
                  <c:v>2020M10</c:v>
                </c:pt>
                <c:pt idx="22">
                  <c:v>2020M11</c:v>
                </c:pt>
                <c:pt idx="23">
                  <c:v>2020M12</c:v>
                </c:pt>
                <c:pt idx="24">
                  <c:v>2021</c:v>
                </c:pt>
                <c:pt idx="25">
                  <c:v>2021M02</c:v>
                </c:pt>
                <c:pt idx="26">
                  <c:v>2021M03</c:v>
                </c:pt>
                <c:pt idx="27">
                  <c:v>2021M04</c:v>
                </c:pt>
                <c:pt idx="28">
                  <c:v>2021M05</c:v>
                </c:pt>
                <c:pt idx="29">
                  <c:v>2021M06</c:v>
                </c:pt>
                <c:pt idx="30">
                  <c:v>2021M07</c:v>
                </c:pt>
                <c:pt idx="31">
                  <c:v>2021M08</c:v>
                </c:pt>
                <c:pt idx="32">
                  <c:v>2021M09</c:v>
                </c:pt>
                <c:pt idx="33">
                  <c:v>2021M10</c:v>
                </c:pt>
                <c:pt idx="34">
                  <c:v>2021M11</c:v>
                </c:pt>
                <c:pt idx="35">
                  <c:v>2021M12</c:v>
                </c:pt>
                <c:pt idx="36">
                  <c:v>2022</c:v>
                </c:pt>
                <c:pt idx="37">
                  <c:v>2022M02</c:v>
                </c:pt>
                <c:pt idx="38">
                  <c:v>2022M03</c:v>
                </c:pt>
                <c:pt idx="39">
                  <c:v>2022M04</c:v>
                </c:pt>
                <c:pt idx="40">
                  <c:v>2022M05</c:v>
                </c:pt>
                <c:pt idx="41">
                  <c:v>2022M06</c:v>
                </c:pt>
                <c:pt idx="42">
                  <c:v>2022M07</c:v>
                </c:pt>
                <c:pt idx="43">
                  <c:v>2022M08</c:v>
                </c:pt>
                <c:pt idx="44">
                  <c:v>2022M09</c:v>
                </c:pt>
                <c:pt idx="45">
                  <c:v>2022M10</c:v>
                </c:pt>
                <c:pt idx="46">
                  <c:v>2022M11</c:v>
                </c:pt>
                <c:pt idx="47">
                  <c:v>2022M12</c:v>
                </c:pt>
                <c:pt idx="48">
                  <c:v>2023</c:v>
                </c:pt>
                <c:pt idx="49">
                  <c:v>2023M02</c:v>
                </c:pt>
                <c:pt idx="50">
                  <c:v>2023M03</c:v>
                </c:pt>
                <c:pt idx="51">
                  <c:v>2023M04</c:v>
                </c:pt>
                <c:pt idx="52">
                  <c:v>2023M05</c:v>
                </c:pt>
                <c:pt idx="53">
                  <c:v>2023M06</c:v>
                </c:pt>
                <c:pt idx="54">
                  <c:v>2023M07</c:v>
                </c:pt>
              </c:strCache>
            </c:strRef>
          </c:cat>
          <c:val>
            <c:numRef>
              <c:f>'001_114x_2023m07'!$B$8:$BD$8</c:f>
              <c:numCache>
                <c:formatCode>0.0</c:formatCode>
                <c:ptCount val="55"/>
                <c:pt idx="0">
                  <c:v>1.8</c:v>
                </c:pt>
                <c:pt idx="1">
                  <c:v>1.9</c:v>
                </c:pt>
                <c:pt idx="2">
                  <c:v>2.2999999999999998</c:v>
                </c:pt>
                <c:pt idx="3">
                  <c:v>2.2999999999999998</c:v>
                </c:pt>
                <c:pt idx="4">
                  <c:v>2.2000000000000002</c:v>
                </c:pt>
                <c:pt idx="5">
                  <c:v>1.8</c:v>
                </c:pt>
                <c:pt idx="6">
                  <c:v>1.8</c:v>
                </c:pt>
                <c:pt idx="7">
                  <c:v>2</c:v>
                </c:pt>
                <c:pt idx="8">
                  <c:v>1.5</c:v>
                </c:pt>
                <c:pt idx="9">
                  <c:v>1.1000000000000001</c:v>
                </c:pt>
                <c:pt idx="10">
                  <c:v>0.7</c:v>
                </c:pt>
                <c:pt idx="11">
                  <c:v>1</c:v>
                </c:pt>
                <c:pt idx="12">
                  <c:v>1.4</c:v>
                </c:pt>
                <c:pt idx="13">
                  <c:v>1.5</c:v>
                </c:pt>
                <c:pt idx="14">
                  <c:v>0.4</c:v>
                </c:pt>
                <c:pt idx="15">
                  <c:v>-0.3</c:v>
                </c:pt>
                <c:pt idx="16">
                  <c:v>-1.1000000000000001</c:v>
                </c:pt>
                <c:pt idx="17">
                  <c:v>-0.7</c:v>
                </c:pt>
                <c:pt idx="18">
                  <c:v>-0.4</c:v>
                </c:pt>
                <c:pt idx="19">
                  <c:v>-0.5</c:v>
                </c:pt>
                <c:pt idx="20">
                  <c:v>-0.3</c:v>
                </c:pt>
                <c:pt idx="21">
                  <c:v>0</c:v>
                </c:pt>
                <c:pt idx="22">
                  <c:v>0.3</c:v>
                </c:pt>
                <c:pt idx="23">
                  <c:v>0.5</c:v>
                </c:pt>
                <c:pt idx="24">
                  <c:v>0.2</c:v>
                </c:pt>
                <c:pt idx="25">
                  <c:v>1.2</c:v>
                </c:pt>
                <c:pt idx="26">
                  <c:v>1.8</c:v>
                </c:pt>
                <c:pt idx="27">
                  <c:v>2.5</c:v>
                </c:pt>
                <c:pt idx="28">
                  <c:v>3.3</c:v>
                </c:pt>
                <c:pt idx="29">
                  <c:v>3.2</c:v>
                </c:pt>
                <c:pt idx="30">
                  <c:v>3.2</c:v>
                </c:pt>
                <c:pt idx="31">
                  <c:v>3.6</c:v>
                </c:pt>
                <c:pt idx="32">
                  <c:v>3.8</c:v>
                </c:pt>
                <c:pt idx="33">
                  <c:v>4</c:v>
                </c:pt>
                <c:pt idx="34">
                  <c:v>4.0999999999999996</c:v>
                </c:pt>
                <c:pt idx="35">
                  <c:v>3.8</c:v>
                </c:pt>
                <c:pt idx="36">
                  <c:v>4.9000000000000004</c:v>
                </c:pt>
                <c:pt idx="37">
                  <c:v>4.4000000000000004</c:v>
                </c:pt>
                <c:pt idx="38">
                  <c:v>5.5</c:v>
                </c:pt>
                <c:pt idx="39">
                  <c:v>6.7</c:v>
                </c:pt>
                <c:pt idx="40">
                  <c:v>6.8</c:v>
                </c:pt>
                <c:pt idx="41">
                  <c:v>7.3</c:v>
                </c:pt>
                <c:pt idx="42">
                  <c:v>8.1999999999999993</c:v>
                </c:pt>
                <c:pt idx="43">
                  <c:v>7.3</c:v>
                </c:pt>
                <c:pt idx="44">
                  <c:v>7.2</c:v>
                </c:pt>
                <c:pt idx="45">
                  <c:v>8.3000000000000007</c:v>
                </c:pt>
                <c:pt idx="46">
                  <c:v>8</c:v>
                </c:pt>
                <c:pt idx="47">
                  <c:v>7.9</c:v>
                </c:pt>
                <c:pt idx="48">
                  <c:v>8.5</c:v>
                </c:pt>
                <c:pt idx="49">
                  <c:v>7.6</c:v>
                </c:pt>
                <c:pt idx="50">
                  <c:v>6.3</c:v>
                </c:pt>
                <c:pt idx="51">
                  <c:v>4.0999999999999996</c:v>
                </c:pt>
                <c:pt idx="52">
                  <c:v>4.5</c:v>
                </c:pt>
                <c:pt idx="53">
                  <c:v>4</c:v>
                </c:pt>
                <c:pt idx="54">
                  <c:v>3.9</c:v>
                </c:pt>
              </c:numCache>
            </c:numRef>
          </c:val>
          <c:smooth val="0"/>
          <c:extLst>
            <c:ext xmlns:c16="http://schemas.microsoft.com/office/drawing/2014/chart" uri="{C3380CC4-5D6E-409C-BE32-E72D297353CC}">
              <c16:uniqueId val="{00000003-6237-447B-8A92-540E6F97C297}"/>
            </c:ext>
          </c:extLst>
        </c:ser>
        <c:dLbls>
          <c:showLegendKey val="0"/>
          <c:showVal val="0"/>
          <c:showCatName val="0"/>
          <c:showSerName val="0"/>
          <c:showPercent val="0"/>
          <c:showBubbleSize val="0"/>
        </c:dLbls>
        <c:smooth val="0"/>
        <c:axId val="670905576"/>
        <c:axId val="670907736"/>
      </c:lineChart>
      <c:catAx>
        <c:axId val="6709055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25400"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670907736"/>
        <c:crosses val="autoZero"/>
        <c:auto val="1"/>
        <c:lblAlgn val="ctr"/>
        <c:lblOffset val="100"/>
        <c:tickLblSkip val="12"/>
        <c:tickMarkSkip val="12"/>
        <c:noMultiLvlLbl val="0"/>
      </c:catAx>
      <c:valAx>
        <c:axId val="6709077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670905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solidFill>
            <a:schemeClr val="tx1"/>
          </a:solidFill>
          <a:latin typeface="Verdana" panose="020B0604030504040204" pitchFamily="34" charset="0"/>
          <a:ea typeface="Verdana" panose="020B0604030504040204" pitchFamily="34" charset="0"/>
        </a:defRPr>
      </a:pPr>
      <a:endParaRPr lang="fi-FI"/>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600" b="0" i="0" u="none" strike="noStrike" kern="1200" spc="0" baseline="0">
                <a:solidFill>
                  <a:schemeClr val="tx1"/>
                </a:solidFill>
                <a:latin typeface="Verdana" panose="020B0604030504040204" pitchFamily="34" charset="0"/>
                <a:ea typeface="Verdana" panose="020B0604030504040204" pitchFamily="34" charset="0"/>
                <a:cs typeface="+mn-cs"/>
              </a:defRPr>
            </a:pPr>
            <a:r>
              <a:rPr lang="fi-FI" sz="700" dirty="0">
                <a:solidFill>
                  <a:schemeClr val="tx1"/>
                </a:solidFill>
              </a:rPr>
              <a:t>Teollisuuden suhdannetilanne, saldoluku</a:t>
            </a:r>
          </a:p>
        </c:rich>
      </c:tx>
      <c:layout>
        <c:manualLayout>
          <c:xMode val="edge"/>
          <c:yMode val="edge"/>
          <c:x val="0.16237362015969181"/>
          <c:y val="2.1510840108401083E-2"/>
        </c:manualLayout>
      </c:layout>
      <c:overlay val="0"/>
      <c:spPr>
        <a:noFill/>
        <a:ln>
          <a:noFill/>
        </a:ln>
        <a:effectLst/>
      </c:spPr>
      <c:txPr>
        <a:bodyPr rot="0" spcFirstLastPara="1" vertOverflow="ellipsis" vert="horz" wrap="square" anchor="ctr" anchorCtr="1"/>
        <a:lstStyle/>
        <a:p>
          <a:pPr>
            <a:defRPr sz="600" b="0" i="0" u="none" strike="noStrike" kern="1200" spc="0" baseline="0">
              <a:solidFill>
                <a:schemeClr val="tx1"/>
              </a:solidFill>
              <a:latin typeface="Verdana" panose="020B0604030504040204" pitchFamily="34" charset="0"/>
              <a:ea typeface="Verdana" panose="020B0604030504040204" pitchFamily="34" charset="0"/>
              <a:cs typeface="+mn-cs"/>
            </a:defRPr>
          </a:pPr>
          <a:endParaRPr lang="fi-FI"/>
        </a:p>
      </c:txPr>
    </c:title>
    <c:autoTitleDeleted val="0"/>
    <c:plotArea>
      <c:layout>
        <c:manualLayout>
          <c:layoutTarget val="inner"/>
          <c:xMode val="edge"/>
          <c:yMode val="edge"/>
          <c:x val="0.10008557618018775"/>
          <c:y val="0.1453929539295393"/>
          <c:w val="0.86631140960297792"/>
          <c:h val="0.5789289747064138"/>
        </c:manualLayout>
      </c:layout>
      <c:lineChart>
        <c:grouping val="standard"/>
        <c:varyColors val="0"/>
        <c:ser>
          <c:idx val="0"/>
          <c:order val="0"/>
          <c:tx>
            <c:strRef>
              <c:f>'Teollisuuden suhdannetilanne'!$B$1</c:f>
              <c:strCache>
                <c:ptCount val="1"/>
                <c:pt idx="0">
                  <c:v>Suhdannetilanne</c:v>
                </c:pt>
              </c:strCache>
            </c:strRef>
          </c:tx>
          <c:spPr>
            <a:ln w="28575" cap="rnd">
              <a:solidFill>
                <a:srgbClr val="85E869"/>
              </a:solidFill>
              <a:round/>
            </a:ln>
            <a:effectLst/>
          </c:spPr>
          <c:marker>
            <c:symbol val="none"/>
          </c:marker>
          <c:cat>
            <c:strRef>
              <c:f>'Teollisuuden suhdannetilanne'!$A$62:$A$80</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Teollisuuden suhdannetilanne'!$B$62:$B$80</c:f>
              <c:numCache>
                <c:formatCode>General</c:formatCode>
                <c:ptCount val="19"/>
                <c:pt idx="0">
                  <c:v>-18.2</c:v>
                </c:pt>
                <c:pt idx="1">
                  <c:v>-32.4</c:v>
                </c:pt>
                <c:pt idx="2">
                  <c:v>-43.8</c:v>
                </c:pt>
                <c:pt idx="3">
                  <c:v>-41.4</c:v>
                </c:pt>
                <c:pt idx="4">
                  <c:v>-14.9</c:v>
                </c:pt>
                <c:pt idx="5">
                  <c:v>11.8</c:v>
                </c:pt>
                <c:pt idx="6">
                  <c:v>37.9</c:v>
                </c:pt>
                <c:pt idx="7">
                  <c:v>36.1</c:v>
                </c:pt>
                <c:pt idx="8">
                  <c:v>41.7</c:v>
                </c:pt>
                <c:pt idx="9">
                  <c:v>27.4</c:v>
                </c:pt>
                <c:pt idx="10">
                  <c:v>16.899999999999999</c:v>
                </c:pt>
                <c:pt idx="11">
                  <c:v>-0.9</c:v>
                </c:pt>
                <c:pt idx="12">
                  <c:v>-13.9</c:v>
                </c:pt>
                <c:pt idx="13">
                  <c:v>-16.8</c:v>
                </c:pt>
                <c:pt idx="14">
                  <c:v>-24.2</c:v>
                </c:pt>
                <c:pt idx="15">
                  <c:v>-44.8</c:v>
                </c:pt>
                <c:pt idx="16">
                  <c:v>-49.6</c:v>
                </c:pt>
                <c:pt idx="17">
                  <c:v>-46</c:v>
                </c:pt>
                <c:pt idx="18">
                  <c:v>-33.700000000000003</c:v>
                </c:pt>
              </c:numCache>
            </c:numRef>
          </c:val>
          <c:smooth val="0"/>
          <c:extLst>
            <c:ext xmlns:c16="http://schemas.microsoft.com/office/drawing/2014/chart" uri="{C3380CC4-5D6E-409C-BE32-E72D297353CC}">
              <c16:uniqueId val="{00000000-BE3D-43D8-AE76-9D285257A11F}"/>
            </c:ext>
          </c:extLst>
        </c:ser>
        <c:ser>
          <c:idx val="1"/>
          <c:order val="1"/>
          <c:tx>
            <c:strRef>
              <c:f>'Teollisuuden suhdannetilanne'!$C$1</c:f>
              <c:strCache>
                <c:ptCount val="1"/>
                <c:pt idx="0">
                  <c:v>Suhdannenäkymät</c:v>
                </c:pt>
              </c:strCache>
            </c:strRef>
          </c:tx>
          <c:spPr>
            <a:ln w="28575" cap="rnd">
              <a:solidFill>
                <a:schemeClr val="accent2"/>
              </a:solidFill>
              <a:round/>
            </a:ln>
            <a:effectLst/>
          </c:spPr>
          <c:marker>
            <c:symbol val="none"/>
          </c:marker>
          <c:cat>
            <c:strRef>
              <c:f>'Teollisuuden suhdannetilanne'!$A$62:$A$80</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Teollisuuden suhdannetilanne'!$C$62:$C$80</c:f>
              <c:numCache>
                <c:formatCode>General</c:formatCode>
                <c:ptCount val="19"/>
                <c:pt idx="0">
                  <c:v>-15.6</c:v>
                </c:pt>
                <c:pt idx="1">
                  <c:v>-48.4</c:v>
                </c:pt>
                <c:pt idx="2">
                  <c:v>-18.600000000000001</c:v>
                </c:pt>
                <c:pt idx="3">
                  <c:v>-16.2</c:v>
                </c:pt>
                <c:pt idx="4">
                  <c:v>8.9</c:v>
                </c:pt>
                <c:pt idx="5">
                  <c:v>20</c:v>
                </c:pt>
                <c:pt idx="6">
                  <c:v>16.5</c:v>
                </c:pt>
                <c:pt idx="7">
                  <c:v>3.3</c:v>
                </c:pt>
                <c:pt idx="8">
                  <c:v>3</c:v>
                </c:pt>
                <c:pt idx="9">
                  <c:v>-16</c:v>
                </c:pt>
                <c:pt idx="10">
                  <c:v>-23.5</c:v>
                </c:pt>
                <c:pt idx="11">
                  <c:v>-37.1</c:v>
                </c:pt>
                <c:pt idx="12">
                  <c:v>-25.4</c:v>
                </c:pt>
                <c:pt idx="13">
                  <c:v>-20.6</c:v>
                </c:pt>
                <c:pt idx="14">
                  <c:v>-29.2</c:v>
                </c:pt>
                <c:pt idx="15">
                  <c:v>-34.700000000000003</c:v>
                </c:pt>
                <c:pt idx="16">
                  <c:v>-14.2</c:v>
                </c:pt>
                <c:pt idx="17">
                  <c:v>-0.7</c:v>
                </c:pt>
                <c:pt idx="18">
                  <c:v>3.4</c:v>
                </c:pt>
              </c:numCache>
            </c:numRef>
          </c:val>
          <c:smooth val="0"/>
          <c:extLst>
            <c:ext xmlns:c16="http://schemas.microsoft.com/office/drawing/2014/chart" uri="{C3380CC4-5D6E-409C-BE32-E72D297353CC}">
              <c16:uniqueId val="{00000001-BE3D-43D8-AE76-9D285257A11F}"/>
            </c:ext>
          </c:extLst>
        </c:ser>
        <c:dLbls>
          <c:showLegendKey val="0"/>
          <c:showVal val="0"/>
          <c:showCatName val="0"/>
          <c:showSerName val="0"/>
          <c:showPercent val="0"/>
          <c:showBubbleSize val="0"/>
        </c:dLbls>
        <c:smooth val="0"/>
        <c:axId val="761987304"/>
        <c:axId val="761987664"/>
      </c:lineChart>
      <c:catAx>
        <c:axId val="761987304"/>
        <c:scaling>
          <c:orientation val="minMax"/>
        </c:scaling>
        <c:delete val="0"/>
        <c:axPos val="b"/>
        <c:majorGridlines>
          <c:spPr>
            <a:ln w="9525" cap="flat" cmpd="sng" algn="ctr">
              <a:noFill/>
              <a:round/>
            </a:ln>
            <a:effectLst/>
          </c:spPr>
        </c:majorGridlines>
        <c:numFmt formatCode="General" sourceLinked="1"/>
        <c:majorTickMark val="none"/>
        <c:minorTickMark val="none"/>
        <c:tickLblPos val="low"/>
        <c:spPr>
          <a:noFill/>
          <a:ln w="25400" cap="flat" cmpd="sng" algn="ctr">
            <a:solidFill>
              <a:schemeClr val="tx1">
                <a:lumMod val="15000"/>
                <a:lumOff val="85000"/>
              </a:schemeClr>
            </a:solidFill>
            <a:round/>
          </a:ln>
          <a:effectLst/>
        </c:spPr>
        <c:txPr>
          <a:bodyPr rot="-5400000" spcFirstLastPara="1" vertOverflow="ellipsis" wrap="square" anchor="ctr" anchorCtr="1"/>
          <a:lstStyle/>
          <a:p>
            <a:pPr>
              <a:defRPr sz="5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761987664"/>
        <c:crosses val="autoZero"/>
        <c:auto val="1"/>
        <c:lblAlgn val="ctr"/>
        <c:lblOffset val="100"/>
        <c:noMultiLvlLbl val="0"/>
      </c:catAx>
      <c:valAx>
        <c:axId val="761987664"/>
        <c:scaling>
          <c:orientation val="minMax"/>
          <c:min val="-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761987304"/>
        <c:crosses val="autoZero"/>
        <c:crossBetween val="between"/>
        <c:majorUnit val="10"/>
      </c:valAx>
      <c:spPr>
        <a:noFill/>
        <a:ln>
          <a:noFill/>
        </a:ln>
        <a:effectLst/>
      </c:spPr>
    </c:plotArea>
    <c:legend>
      <c:legendPos val="b"/>
      <c:layout>
        <c:manualLayout>
          <c:xMode val="edge"/>
          <c:yMode val="edge"/>
          <c:x val="3.1092804797104318E-2"/>
          <c:y val="0.92535173893405598"/>
          <c:w val="0.9378143904057914"/>
          <c:h val="6.0307520344442749E-2"/>
        </c:manualLayout>
      </c:layout>
      <c:overlay val="0"/>
      <c:spPr>
        <a:noFill/>
        <a:ln>
          <a:noFill/>
        </a:ln>
        <a:effectLst/>
      </c:spPr>
      <c:txPr>
        <a:bodyPr rot="0" spcFirstLastPara="1" vertOverflow="ellipsis" vert="horz" wrap="square" anchor="ctr" anchorCtr="1"/>
        <a:lstStyle/>
        <a:p>
          <a:pPr>
            <a:defRPr sz="5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Verdana" panose="020B0604030504040204" pitchFamily="34" charset="0"/>
          <a:ea typeface="Verdana" panose="020B0604030504040204" pitchFamily="34" charset="0"/>
        </a:defRPr>
      </a:pPr>
      <a:endParaRPr lang="fi-FI"/>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700" b="0" i="0" u="none" strike="noStrike" kern="1200" spc="0" baseline="0">
                <a:solidFill>
                  <a:schemeClr val="tx1"/>
                </a:solidFill>
                <a:latin typeface="+mn-lt"/>
                <a:ea typeface="+mn-ea"/>
                <a:cs typeface="+mn-cs"/>
              </a:defRPr>
            </a:pPr>
            <a:r>
              <a:rPr lang="fi-FI" sz="700" dirty="0">
                <a:solidFill>
                  <a:schemeClr val="tx1"/>
                </a:solidFill>
                <a:latin typeface="Verdana" panose="020B0604030504040204" pitchFamily="34" charset="0"/>
                <a:ea typeface="Verdana" panose="020B0604030504040204" pitchFamily="34" charset="0"/>
              </a:rPr>
              <a:t>Teollisuuden tilauskanta, saldoluku</a:t>
            </a:r>
          </a:p>
        </c:rich>
      </c:tx>
      <c:layout>
        <c:manualLayout>
          <c:xMode val="edge"/>
          <c:yMode val="edge"/>
          <c:x val="0.19344442861100916"/>
          <c:y val="1.5196577300022914E-2"/>
        </c:manualLayout>
      </c:layout>
      <c:overlay val="0"/>
      <c:spPr>
        <a:noFill/>
        <a:ln>
          <a:noFill/>
        </a:ln>
        <a:effectLst/>
      </c:spPr>
      <c:txPr>
        <a:bodyPr rot="0" spcFirstLastPara="1" vertOverflow="ellipsis" vert="horz" wrap="square" anchor="ctr" anchorCtr="1"/>
        <a:lstStyle/>
        <a:p>
          <a:pPr>
            <a:defRPr sz="700" b="0" i="0" u="none" strike="noStrike" kern="1200" spc="0" baseline="0">
              <a:solidFill>
                <a:schemeClr val="tx1"/>
              </a:solidFill>
              <a:latin typeface="+mn-lt"/>
              <a:ea typeface="+mn-ea"/>
              <a:cs typeface="+mn-cs"/>
            </a:defRPr>
          </a:pPr>
          <a:endParaRPr lang="fi-FI"/>
        </a:p>
      </c:txPr>
    </c:title>
    <c:autoTitleDeleted val="0"/>
    <c:plotArea>
      <c:layout>
        <c:manualLayout>
          <c:layoutTarget val="inner"/>
          <c:xMode val="edge"/>
          <c:yMode val="edge"/>
          <c:x val="9.5924662750978329E-2"/>
          <c:y val="0.13331227350967345"/>
          <c:w val="0.8656719069457669"/>
          <c:h val="0.63976513510295663"/>
        </c:manualLayout>
      </c:layout>
      <c:barChart>
        <c:barDir val="col"/>
        <c:grouping val="clustered"/>
        <c:varyColors val="0"/>
        <c:ser>
          <c:idx val="0"/>
          <c:order val="0"/>
          <c:spPr>
            <a:solidFill>
              <a:srgbClr val="85E869"/>
            </a:solidFill>
            <a:ln>
              <a:noFill/>
            </a:ln>
            <a:effectLst/>
          </c:spPr>
          <c:invertIfNegative val="0"/>
          <c:cat>
            <c:strRef>
              <c:f>'Teollisuuden tilauskanta'!$A$62:$A$80</c:f>
              <c:strCache>
                <c:ptCount val="19"/>
                <c:pt idx="0">
                  <c:v>1/2020</c:v>
                </c:pt>
                <c:pt idx="1">
                  <c:v>4/2020</c:v>
                </c:pt>
                <c:pt idx="2">
                  <c:v>7/2020</c:v>
                </c:pt>
                <c:pt idx="3">
                  <c:v>10/2020</c:v>
                </c:pt>
                <c:pt idx="4">
                  <c:v>1/2021</c:v>
                </c:pt>
                <c:pt idx="5">
                  <c:v>4/2021</c:v>
                </c:pt>
                <c:pt idx="6">
                  <c:v>7/2021</c:v>
                </c:pt>
                <c:pt idx="7">
                  <c:v>10/2021</c:v>
                </c:pt>
                <c:pt idx="8">
                  <c:v>1/2022</c:v>
                </c:pt>
                <c:pt idx="9">
                  <c:v>4/2022</c:v>
                </c:pt>
                <c:pt idx="10">
                  <c:v>7/2022</c:v>
                </c:pt>
                <c:pt idx="11">
                  <c:v>10/2022</c:v>
                </c:pt>
                <c:pt idx="12">
                  <c:v>1/2023</c:v>
                </c:pt>
                <c:pt idx="13">
                  <c:v>4/2023</c:v>
                </c:pt>
                <c:pt idx="14">
                  <c:v>7/2023</c:v>
                </c:pt>
                <c:pt idx="15">
                  <c:v>10/2023</c:v>
                </c:pt>
                <c:pt idx="16">
                  <c:v>1/2024</c:v>
                </c:pt>
                <c:pt idx="17">
                  <c:v>4/2024</c:v>
                </c:pt>
                <c:pt idx="18">
                  <c:v>7/2024</c:v>
                </c:pt>
              </c:strCache>
            </c:strRef>
          </c:cat>
          <c:val>
            <c:numRef>
              <c:f>'Teollisuuden tilauskanta'!$B$62:$B$80</c:f>
              <c:numCache>
                <c:formatCode>General</c:formatCode>
                <c:ptCount val="19"/>
                <c:pt idx="0">
                  <c:v>-24.1</c:v>
                </c:pt>
                <c:pt idx="1">
                  <c:v>-9.1</c:v>
                </c:pt>
                <c:pt idx="2">
                  <c:v>-31.1</c:v>
                </c:pt>
                <c:pt idx="3">
                  <c:v>-29.2</c:v>
                </c:pt>
                <c:pt idx="4">
                  <c:v>-20.7</c:v>
                </c:pt>
                <c:pt idx="5">
                  <c:v>9.6999999999999993</c:v>
                </c:pt>
                <c:pt idx="6">
                  <c:v>21.9</c:v>
                </c:pt>
                <c:pt idx="7">
                  <c:v>26.6</c:v>
                </c:pt>
                <c:pt idx="8">
                  <c:v>25.3</c:v>
                </c:pt>
                <c:pt idx="9">
                  <c:v>31.6</c:v>
                </c:pt>
                <c:pt idx="10">
                  <c:v>17.399999999999999</c:v>
                </c:pt>
                <c:pt idx="11">
                  <c:v>4.2</c:v>
                </c:pt>
                <c:pt idx="12">
                  <c:v>-9.1999999999999993</c:v>
                </c:pt>
                <c:pt idx="13">
                  <c:v>-5.2</c:v>
                </c:pt>
                <c:pt idx="14">
                  <c:v>-15.2</c:v>
                </c:pt>
                <c:pt idx="15">
                  <c:v>-37.799999999999997</c:v>
                </c:pt>
                <c:pt idx="16">
                  <c:v>-35.1</c:v>
                </c:pt>
                <c:pt idx="17">
                  <c:v>-25.3</c:v>
                </c:pt>
                <c:pt idx="18">
                  <c:v>-22.9</c:v>
                </c:pt>
              </c:numCache>
            </c:numRef>
          </c:val>
          <c:extLst>
            <c:ext xmlns:c16="http://schemas.microsoft.com/office/drawing/2014/chart" uri="{C3380CC4-5D6E-409C-BE32-E72D297353CC}">
              <c16:uniqueId val="{00000000-E481-4E7F-B075-04D1A948AD4A}"/>
            </c:ext>
          </c:extLst>
        </c:ser>
        <c:dLbls>
          <c:showLegendKey val="0"/>
          <c:showVal val="0"/>
          <c:showCatName val="0"/>
          <c:showSerName val="0"/>
          <c:showPercent val="0"/>
          <c:showBubbleSize val="0"/>
        </c:dLbls>
        <c:gapWidth val="5"/>
        <c:axId val="761994504"/>
        <c:axId val="761990184"/>
      </c:barChart>
      <c:catAx>
        <c:axId val="76199450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1"/>
                </a:solidFill>
                <a:latin typeface="+mn-lt"/>
                <a:ea typeface="+mn-ea"/>
                <a:cs typeface="+mn-cs"/>
              </a:defRPr>
            </a:pPr>
            <a:endParaRPr lang="fi-FI"/>
          </a:p>
        </c:txPr>
        <c:crossAx val="761990184"/>
        <c:crosses val="autoZero"/>
        <c:auto val="1"/>
        <c:lblAlgn val="ctr"/>
        <c:lblOffset val="100"/>
        <c:noMultiLvlLbl val="0"/>
      </c:catAx>
      <c:valAx>
        <c:axId val="761990184"/>
        <c:scaling>
          <c:orientation val="minMax"/>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761994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fi-FI"/>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20" b="0" i="0" u="none" strike="noStrike" kern="1200" baseline="0">
                <a:solidFill>
                  <a:schemeClr val="tx1"/>
                </a:solidFill>
                <a:latin typeface="+mj-lt"/>
                <a:ea typeface="+mn-ea"/>
                <a:cs typeface="+mn-cs"/>
              </a:defRPr>
            </a:pPr>
            <a:r>
              <a:rPr lang="fi-FI" sz="800" b="0" i="0" u="none" strike="noStrike" baseline="0" dirty="0">
                <a:solidFill>
                  <a:schemeClr val="tx1"/>
                </a:solidFill>
                <a:effectLst/>
                <a:latin typeface="+mj-lt"/>
              </a:rPr>
              <a:t>Ulkomaisten suorien investointien (FDI) kertymä Pohjoismaihin prosentteina </a:t>
            </a:r>
            <a:r>
              <a:rPr lang="fi-FI" sz="800" b="0" i="0" u="none" strike="noStrike" baseline="0" dirty="0" err="1">
                <a:solidFill>
                  <a:schemeClr val="tx1"/>
                </a:solidFill>
                <a:effectLst/>
                <a:latin typeface="+mj-lt"/>
              </a:rPr>
              <a:t>BKT:sta</a:t>
            </a:r>
            <a:r>
              <a:rPr lang="fi-FI" sz="800" b="0" i="0" u="none" strike="noStrike" baseline="0" dirty="0">
                <a:solidFill>
                  <a:schemeClr val="tx1"/>
                </a:solidFill>
                <a:effectLst/>
                <a:latin typeface="+mj-lt"/>
              </a:rPr>
              <a:t>, vuosittain ja maittain</a:t>
            </a:r>
            <a:endParaRPr lang="fi-FI" sz="800" b="0" dirty="0">
              <a:solidFill>
                <a:schemeClr val="tx1"/>
              </a:solidFill>
              <a:latin typeface="+mj-lt"/>
            </a:endParaRPr>
          </a:p>
        </c:rich>
      </c:tx>
      <c:overlay val="0"/>
      <c:spPr>
        <a:noFill/>
        <a:ln>
          <a:noFill/>
        </a:ln>
        <a:effectLst/>
      </c:spPr>
      <c:txPr>
        <a:bodyPr rot="0" spcFirstLastPara="1" vertOverflow="ellipsis" vert="horz" wrap="square" anchor="ctr" anchorCtr="1"/>
        <a:lstStyle/>
        <a:p>
          <a:pPr>
            <a:defRPr sz="720" b="0" i="0" u="none" strike="noStrike" kern="1200" baseline="0">
              <a:solidFill>
                <a:schemeClr val="tx1"/>
              </a:solidFill>
              <a:latin typeface="+mj-lt"/>
              <a:ea typeface="+mn-ea"/>
              <a:cs typeface="+mn-cs"/>
            </a:defRPr>
          </a:pPr>
          <a:endParaRPr lang="fi-FI"/>
        </a:p>
      </c:txPr>
    </c:title>
    <c:autoTitleDeleted val="0"/>
    <c:plotArea>
      <c:layout/>
      <c:lineChart>
        <c:grouping val="standard"/>
        <c:varyColors val="0"/>
        <c:ser>
          <c:idx val="0"/>
          <c:order val="0"/>
          <c:tx>
            <c:strRef>
              <c:f>'Ark1'!$B$1:$B$2</c:f>
              <c:strCache>
                <c:ptCount val="2"/>
                <c:pt idx="1">
                  <c:v>DK</c:v>
                </c:pt>
              </c:strCache>
            </c:strRef>
          </c:tx>
          <c:spPr>
            <a:ln w="31750" cap="rnd">
              <a:solidFill>
                <a:schemeClr val="accent1"/>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B$3:$B$24</c:f>
              <c:numCache>
                <c:formatCode>0%</c:formatCode>
                <c:ptCount val="22"/>
                <c:pt idx="0">
                  <c:v>0.45</c:v>
                </c:pt>
                <c:pt idx="1">
                  <c:v>0.46</c:v>
                </c:pt>
                <c:pt idx="2">
                  <c:v>0.46</c:v>
                </c:pt>
                <c:pt idx="3">
                  <c:v>0.46</c:v>
                </c:pt>
                <c:pt idx="4">
                  <c:v>0.28999999999999998</c:v>
                </c:pt>
                <c:pt idx="5">
                  <c:v>0.27</c:v>
                </c:pt>
                <c:pt idx="6">
                  <c:v>0.32</c:v>
                </c:pt>
                <c:pt idx="7">
                  <c:v>0.34</c:v>
                </c:pt>
                <c:pt idx="8">
                  <c:v>0.28999999999999998</c:v>
                </c:pt>
                <c:pt idx="9">
                  <c:v>0.32</c:v>
                </c:pt>
                <c:pt idx="10">
                  <c:v>0.3</c:v>
                </c:pt>
                <c:pt idx="11">
                  <c:v>0.28999999999999998</c:v>
                </c:pt>
                <c:pt idx="12">
                  <c:v>0.3</c:v>
                </c:pt>
                <c:pt idx="13">
                  <c:v>0.27</c:v>
                </c:pt>
                <c:pt idx="14">
                  <c:v>0.27</c:v>
                </c:pt>
                <c:pt idx="15">
                  <c:v>0.3</c:v>
                </c:pt>
                <c:pt idx="16">
                  <c:v>0.32</c:v>
                </c:pt>
                <c:pt idx="17">
                  <c:v>0.35</c:v>
                </c:pt>
                <c:pt idx="18">
                  <c:v>0.33</c:v>
                </c:pt>
                <c:pt idx="19">
                  <c:v>0.37</c:v>
                </c:pt>
                <c:pt idx="20">
                  <c:v>0.42</c:v>
                </c:pt>
                <c:pt idx="21">
                  <c:v>0.39</c:v>
                </c:pt>
              </c:numCache>
            </c:numRef>
          </c:val>
          <c:smooth val="0"/>
          <c:extLst>
            <c:ext xmlns:c16="http://schemas.microsoft.com/office/drawing/2014/chart" uri="{C3380CC4-5D6E-409C-BE32-E72D297353CC}">
              <c16:uniqueId val="{00000000-41ED-4FC0-8D56-9434A0CE2774}"/>
            </c:ext>
          </c:extLst>
        </c:ser>
        <c:ser>
          <c:idx val="1"/>
          <c:order val="1"/>
          <c:tx>
            <c:strRef>
              <c:f>'Ark1'!$C$1:$C$2</c:f>
              <c:strCache>
                <c:ptCount val="2"/>
                <c:pt idx="1">
                  <c:v>FI</c:v>
                </c:pt>
              </c:strCache>
            </c:strRef>
          </c:tx>
          <c:spPr>
            <a:ln w="31750" cap="rnd">
              <a:solidFill>
                <a:schemeClr val="accent2"/>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C$3:$C$24</c:f>
              <c:numCache>
                <c:formatCode>0%</c:formatCode>
                <c:ptCount val="22"/>
                <c:pt idx="0">
                  <c:v>0.19</c:v>
                </c:pt>
                <c:pt idx="1">
                  <c:v>0.19</c:v>
                </c:pt>
                <c:pt idx="2">
                  <c:v>0.24</c:v>
                </c:pt>
                <c:pt idx="3">
                  <c:v>0.28999999999999998</c:v>
                </c:pt>
                <c:pt idx="4">
                  <c:v>0.28999999999999998</c:v>
                </c:pt>
                <c:pt idx="5">
                  <c:v>0.27</c:v>
                </c:pt>
                <c:pt idx="6">
                  <c:v>0.33</c:v>
                </c:pt>
                <c:pt idx="7">
                  <c:v>0.36</c:v>
                </c:pt>
                <c:pt idx="8">
                  <c:v>0.28999999999999998</c:v>
                </c:pt>
                <c:pt idx="9">
                  <c:v>0.34</c:v>
                </c:pt>
                <c:pt idx="10">
                  <c:v>0.35</c:v>
                </c:pt>
                <c:pt idx="11">
                  <c:v>0.32</c:v>
                </c:pt>
                <c:pt idx="12">
                  <c:v>0.37</c:v>
                </c:pt>
                <c:pt idx="13">
                  <c:v>0.33</c:v>
                </c:pt>
                <c:pt idx="14">
                  <c:v>0.34</c:v>
                </c:pt>
                <c:pt idx="15">
                  <c:v>0.35</c:v>
                </c:pt>
                <c:pt idx="16">
                  <c:v>0.33</c:v>
                </c:pt>
                <c:pt idx="17">
                  <c:v>0.35</c:v>
                </c:pt>
                <c:pt idx="18">
                  <c:v>0.26</c:v>
                </c:pt>
                <c:pt idx="19">
                  <c:v>0.32</c:v>
                </c:pt>
                <c:pt idx="20">
                  <c:v>0.34</c:v>
                </c:pt>
                <c:pt idx="21">
                  <c:v>0.33</c:v>
                </c:pt>
              </c:numCache>
            </c:numRef>
          </c:val>
          <c:smooth val="0"/>
          <c:extLst>
            <c:ext xmlns:c16="http://schemas.microsoft.com/office/drawing/2014/chart" uri="{C3380CC4-5D6E-409C-BE32-E72D297353CC}">
              <c16:uniqueId val="{00000001-41ED-4FC0-8D56-9434A0CE2774}"/>
            </c:ext>
          </c:extLst>
        </c:ser>
        <c:ser>
          <c:idx val="2"/>
          <c:order val="2"/>
          <c:tx>
            <c:strRef>
              <c:f>'Ark1'!$D$1:$D$2</c:f>
              <c:strCache>
                <c:ptCount val="2"/>
                <c:pt idx="1">
                  <c:v>IS</c:v>
                </c:pt>
              </c:strCache>
            </c:strRef>
          </c:tx>
          <c:spPr>
            <a:ln w="31750" cap="rnd">
              <a:solidFill>
                <a:schemeClr val="accent3"/>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D$3:$D$24</c:f>
              <c:numCache>
                <c:formatCode>0%</c:formatCode>
                <c:ptCount val="22"/>
                <c:pt idx="0">
                  <c:v>0.06</c:v>
                </c:pt>
                <c:pt idx="1">
                  <c:v>0.08</c:v>
                </c:pt>
                <c:pt idx="2">
                  <c:v>0.09</c:v>
                </c:pt>
                <c:pt idx="3">
                  <c:v>0.1</c:v>
                </c:pt>
                <c:pt idx="4">
                  <c:v>0.15</c:v>
                </c:pt>
                <c:pt idx="5">
                  <c:v>0.28000000000000003</c:v>
                </c:pt>
                <c:pt idx="6">
                  <c:v>0.44</c:v>
                </c:pt>
                <c:pt idx="7">
                  <c:v>0.76</c:v>
                </c:pt>
                <c:pt idx="8">
                  <c:v>0.51</c:v>
                </c:pt>
                <c:pt idx="9">
                  <c:v>0.66</c:v>
                </c:pt>
                <c:pt idx="10">
                  <c:v>0.86</c:v>
                </c:pt>
                <c:pt idx="11">
                  <c:v>0.83</c:v>
                </c:pt>
                <c:pt idx="12">
                  <c:v>0.7</c:v>
                </c:pt>
                <c:pt idx="13">
                  <c:v>0.46</c:v>
                </c:pt>
                <c:pt idx="14">
                  <c:v>0.44</c:v>
                </c:pt>
                <c:pt idx="15">
                  <c:v>0.45</c:v>
                </c:pt>
                <c:pt idx="16">
                  <c:v>0.47</c:v>
                </c:pt>
                <c:pt idx="17">
                  <c:v>0.41</c:v>
                </c:pt>
                <c:pt idx="18">
                  <c:v>0.33</c:v>
                </c:pt>
                <c:pt idx="19">
                  <c:v>0.34</c:v>
                </c:pt>
                <c:pt idx="20">
                  <c:v>0.35</c:v>
                </c:pt>
                <c:pt idx="21">
                  <c:v>0.3</c:v>
                </c:pt>
              </c:numCache>
            </c:numRef>
          </c:val>
          <c:smooth val="0"/>
          <c:extLst>
            <c:ext xmlns:c16="http://schemas.microsoft.com/office/drawing/2014/chart" uri="{C3380CC4-5D6E-409C-BE32-E72D297353CC}">
              <c16:uniqueId val="{00000002-41ED-4FC0-8D56-9434A0CE2774}"/>
            </c:ext>
          </c:extLst>
        </c:ser>
        <c:ser>
          <c:idx val="3"/>
          <c:order val="3"/>
          <c:tx>
            <c:strRef>
              <c:f>'Ark1'!$E$1:$E$2</c:f>
              <c:strCache>
                <c:ptCount val="2"/>
                <c:pt idx="1">
                  <c:v>NO</c:v>
                </c:pt>
              </c:strCache>
            </c:strRef>
          </c:tx>
          <c:spPr>
            <a:ln w="31750" cap="rnd">
              <a:solidFill>
                <a:schemeClr val="accent4"/>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E$3:$E$24</c:f>
              <c:numCache>
                <c:formatCode>0%</c:formatCode>
                <c:ptCount val="22"/>
                <c:pt idx="0">
                  <c:v>0.18</c:v>
                </c:pt>
                <c:pt idx="1">
                  <c:v>0.19</c:v>
                </c:pt>
                <c:pt idx="2">
                  <c:v>0.22</c:v>
                </c:pt>
                <c:pt idx="3">
                  <c:v>0.21</c:v>
                </c:pt>
                <c:pt idx="4">
                  <c:v>0.31</c:v>
                </c:pt>
                <c:pt idx="5">
                  <c:v>0.26</c:v>
                </c:pt>
                <c:pt idx="6">
                  <c:v>0.28999999999999998</c:v>
                </c:pt>
                <c:pt idx="7">
                  <c:v>0.44</c:v>
                </c:pt>
                <c:pt idx="8">
                  <c:v>0.27</c:v>
                </c:pt>
                <c:pt idx="9">
                  <c:v>0.42</c:v>
                </c:pt>
                <c:pt idx="10">
                  <c:v>0.41</c:v>
                </c:pt>
                <c:pt idx="11">
                  <c:v>0.36</c:v>
                </c:pt>
                <c:pt idx="12">
                  <c:v>0.42</c:v>
                </c:pt>
                <c:pt idx="13">
                  <c:v>0.37</c:v>
                </c:pt>
                <c:pt idx="14">
                  <c:v>0.33</c:v>
                </c:pt>
                <c:pt idx="15">
                  <c:v>0.39</c:v>
                </c:pt>
                <c:pt idx="16">
                  <c:v>0.4</c:v>
                </c:pt>
                <c:pt idx="17">
                  <c:v>0.37</c:v>
                </c:pt>
                <c:pt idx="18">
                  <c:v>0.36</c:v>
                </c:pt>
                <c:pt idx="19">
                  <c:v>0.42</c:v>
                </c:pt>
                <c:pt idx="20">
                  <c:v>0.47</c:v>
                </c:pt>
                <c:pt idx="21">
                  <c:v>0.31</c:v>
                </c:pt>
              </c:numCache>
            </c:numRef>
          </c:val>
          <c:smooth val="0"/>
          <c:extLst>
            <c:ext xmlns:c16="http://schemas.microsoft.com/office/drawing/2014/chart" uri="{C3380CC4-5D6E-409C-BE32-E72D297353CC}">
              <c16:uniqueId val="{00000003-41ED-4FC0-8D56-9434A0CE2774}"/>
            </c:ext>
          </c:extLst>
        </c:ser>
        <c:ser>
          <c:idx val="4"/>
          <c:order val="4"/>
          <c:tx>
            <c:strRef>
              <c:f>'Ark1'!$F$1:$F$2</c:f>
              <c:strCache>
                <c:ptCount val="2"/>
                <c:pt idx="1">
                  <c:v>SE</c:v>
                </c:pt>
              </c:strCache>
            </c:strRef>
          </c:tx>
          <c:spPr>
            <a:ln w="31750" cap="rnd">
              <a:solidFill>
                <a:schemeClr val="accent5"/>
              </a:solidFill>
              <a:round/>
            </a:ln>
            <a:effectLst/>
          </c:spPr>
          <c:marker>
            <c:symbol val="none"/>
          </c:marker>
          <c:cat>
            <c:strRef>
              <c:f>'Ark1'!$A$3:$A$24</c:f>
              <c:strCach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strCache>
            </c:strRef>
          </c:cat>
          <c:val>
            <c:numRef>
              <c:f>'Ark1'!$F$3:$F$24</c:f>
              <c:numCache>
                <c:formatCode>0%</c:formatCode>
                <c:ptCount val="22"/>
                <c:pt idx="0">
                  <c:v>0.36</c:v>
                </c:pt>
                <c:pt idx="1">
                  <c:v>0.38</c:v>
                </c:pt>
                <c:pt idx="2">
                  <c:v>0.45</c:v>
                </c:pt>
                <c:pt idx="3">
                  <c:v>0.48</c:v>
                </c:pt>
                <c:pt idx="4">
                  <c:v>0.52</c:v>
                </c:pt>
                <c:pt idx="5">
                  <c:v>0.44</c:v>
                </c:pt>
                <c:pt idx="6">
                  <c:v>0.54</c:v>
                </c:pt>
                <c:pt idx="7">
                  <c:v>0.61</c:v>
                </c:pt>
                <c:pt idx="8">
                  <c:v>0.55000000000000004</c:v>
                </c:pt>
                <c:pt idx="9">
                  <c:v>0.77</c:v>
                </c:pt>
                <c:pt idx="10">
                  <c:v>0.71</c:v>
                </c:pt>
                <c:pt idx="11">
                  <c:v>0.62</c:v>
                </c:pt>
                <c:pt idx="12">
                  <c:v>0.69</c:v>
                </c:pt>
                <c:pt idx="13">
                  <c:v>0.68</c:v>
                </c:pt>
                <c:pt idx="14">
                  <c:v>0.56000000000000005</c:v>
                </c:pt>
                <c:pt idx="15">
                  <c:v>0.63</c:v>
                </c:pt>
                <c:pt idx="16">
                  <c:v>0.62</c:v>
                </c:pt>
                <c:pt idx="17">
                  <c:v>0.68</c:v>
                </c:pt>
                <c:pt idx="18">
                  <c:v>0.61</c:v>
                </c:pt>
                <c:pt idx="19">
                  <c:v>0.65</c:v>
                </c:pt>
                <c:pt idx="20">
                  <c:v>0.77</c:v>
                </c:pt>
                <c:pt idx="21">
                  <c:v>0.62</c:v>
                </c:pt>
              </c:numCache>
            </c:numRef>
          </c:val>
          <c:smooth val="0"/>
          <c:extLst>
            <c:ext xmlns:c16="http://schemas.microsoft.com/office/drawing/2014/chart" uri="{C3380CC4-5D6E-409C-BE32-E72D297353CC}">
              <c16:uniqueId val="{00000004-41ED-4FC0-8D56-9434A0CE2774}"/>
            </c:ext>
          </c:extLst>
        </c:ser>
        <c:dLbls>
          <c:showLegendKey val="0"/>
          <c:showVal val="0"/>
          <c:showCatName val="0"/>
          <c:showSerName val="0"/>
          <c:showPercent val="0"/>
          <c:showBubbleSize val="0"/>
        </c:dLbls>
        <c:smooth val="0"/>
        <c:axId val="764259808"/>
        <c:axId val="764260168"/>
      </c:lineChart>
      <c:catAx>
        <c:axId val="764259808"/>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764260168"/>
        <c:crosses val="autoZero"/>
        <c:auto val="1"/>
        <c:lblAlgn val="ctr"/>
        <c:lblOffset val="100"/>
        <c:noMultiLvlLbl val="0"/>
      </c:catAx>
      <c:valAx>
        <c:axId val="764260168"/>
        <c:scaling>
          <c:orientation val="minMax"/>
          <c:max val="1"/>
        </c:scaling>
        <c:delete val="0"/>
        <c:axPos val="l"/>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764259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pPr>
      <a:endParaRPr lang="fi-FI"/>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r>
              <a:rPr lang="fi-FI" sz="800" b="0" i="0" u="none" strike="noStrike" baseline="0" dirty="0">
                <a:solidFill>
                  <a:schemeClr val="tx1"/>
                </a:solidFill>
                <a:effectLst/>
              </a:rPr>
              <a:t>Vuosittainen henkilöstömäärien muutos rakentamisen alalla Pohjoismaissa (NACE64)</a:t>
            </a:r>
            <a:endParaRPr lang="fi-FI" sz="800" b="0" dirty="0">
              <a:solidFill>
                <a:schemeClr val="tx1"/>
              </a:solidFill>
            </a:endParaRPr>
          </a:p>
        </c:rich>
      </c:tx>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i-FI"/>
        </a:p>
      </c:txPr>
    </c:title>
    <c:autoTitleDeleted val="0"/>
    <c:plotArea>
      <c:layout/>
      <c:lineChart>
        <c:grouping val="standard"/>
        <c:varyColors val="0"/>
        <c:ser>
          <c:idx val="0"/>
          <c:order val="0"/>
          <c:tx>
            <c:strRef>
              <c:f>Sheet1!$B$41:$C$41</c:f>
              <c:strCache>
                <c:ptCount val="2"/>
                <c:pt idx="0">
                  <c:v>Denmark</c:v>
                </c:pt>
                <c:pt idx="1">
                  <c:v>Construction</c:v>
                </c:pt>
              </c:strCache>
            </c:strRef>
          </c:tx>
          <c:spPr>
            <a:ln w="31750" cap="rnd">
              <a:solidFill>
                <a:schemeClr val="accent1"/>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1:$M$41</c:f>
              <c:numCache>
                <c:formatCode>0.0\ %</c:formatCode>
                <c:ptCount val="9"/>
                <c:pt idx="0">
                  <c:v>2.847167880575464E-2</c:v>
                </c:pt>
                <c:pt idx="1">
                  <c:v>3.0375746224979499E-2</c:v>
                </c:pt>
                <c:pt idx="2">
                  <c:v>3.5387673956262362E-2</c:v>
                </c:pt>
                <c:pt idx="3">
                  <c:v>3.3574720210664939E-2</c:v>
                </c:pt>
                <c:pt idx="4">
                  <c:v>1.7462845010615669E-2</c:v>
                </c:pt>
                <c:pt idx="5">
                  <c:v>1.4085241796650784E-2</c:v>
                </c:pt>
                <c:pt idx="6">
                  <c:v>4.4601059725294594E-2</c:v>
                </c:pt>
                <c:pt idx="7">
                  <c:v>3.9692701664532662E-2</c:v>
                </c:pt>
                <c:pt idx="8">
                  <c:v>-1.4683592269799273E-3</c:v>
                </c:pt>
              </c:numCache>
            </c:numRef>
          </c:val>
          <c:smooth val="0"/>
          <c:extLst>
            <c:ext xmlns:c16="http://schemas.microsoft.com/office/drawing/2014/chart" uri="{C3380CC4-5D6E-409C-BE32-E72D297353CC}">
              <c16:uniqueId val="{00000000-A54F-4B24-9CE0-D98227BC3C1A}"/>
            </c:ext>
          </c:extLst>
        </c:ser>
        <c:ser>
          <c:idx val="2"/>
          <c:order val="2"/>
          <c:tx>
            <c:strRef>
              <c:f>Sheet1!$B$43:$C$43</c:f>
              <c:strCache>
                <c:ptCount val="2"/>
                <c:pt idx="0">
                  <c:v>Finland</c:v>
                </c:pt>
                <c:pt idx="1">
                  <c:v>Construction</c:v>
                </c:pt>
              </c:strCache>
            </c:strRef>
          </c:tx>
          <c:spPr>
            <a:ln w="31750" cap="rnd">
              <a:solidFill>
                <a:schemeClr val="accent2"/>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3:$M$43</c:f>
              <c:numCache>
                <c:formatCode>0.0\ %</c:formatCode>
                <c:ptCount val="9"/>
                <c:pt idx="0">
                  <c:v>1.7590618336887055E-2</c:v>
                </c:pt>
                <c:pt idx="1">
                  <c:v>4.7668936616029306E-2</c:v>
                </c:pt>
                <c:pt idx="2">
                  <c:v>3.5999999999999942E-2</c:v>
                </c:pt>
                <c:pt idx="3">
                  <c:v>4.5366795366795394E-2</c:v>
                </c:pt>
                <c:pt idx="4">
                  <c:v>-1.7082179132040576E-2</c:v>
                </c:pt>
                <c:pt idx="5">
                  <c:v>-2.2076092062001017E-2</c:v>
                </c:pt>
                <c:pt idx="6">
                  <c:v>1.0086455331412213E-2</c:v>
                </c:pt>
                <c:pt idx="7">
                  <c:v>1.902044698050296E-3</c:v>
                </c:pt>
                <c:pt idx="8">
                  <c:v>-3.9392501186521038E-2</c:v>
                </c:pt>
              </c:numCache>
            </c:numRef>
          </c:val>
          <c:smooth val="0"/>
          <c:extLst>
            <c:ext xmlns:c16="http://schemas.microsoft.com/office/drawing/2014/chart" uri="{C3380CC4-5D6E-409C-BE32-E72D297353CC}">
              <c16:uniqueId val="{00000001-A54F-4B24-9CE0-D98227BC3C1A}"/>
            </c:ext>
          </c:extLst>
        </c:ser>
        <c:ser>
          <c:idx val="4"/>
          <c:order val="4"/>
          <c:tx>
            <c:strRef>
              <c:f>Sheet1!$B$45:$C$45</c:f>
              <c:strCache>
                <c:ptCount val="2"/>
                <c:pt idx="0">
                  <c:v>Sweden</c:v>
                </c:pt>
                <c:pt idx="1">
                  <c:v>Construction</c:v>
                </c:pt>
              </c:strCache>
            </c:strRef>
          </c:tx>
          <c:spPr>
            <a:ln w="31750" cap="rnd">
              <a:solidFill>
                <a:schemeClr val="accent5"/>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5:$M$45</c:f>
              <c:numCache>
                <c:formatCode>0.0\ %</c:formatCode>
                <c:ptCount val="9"/>
                <c:pt idx="0">
                  <c:v>2.7522935779816515E-2</c:v>
                </c:pt>
                <c:pt idx="1">
                  <c:v>1.7857142857142856E-2</c:v>
                </c:pt>
                <c:pt idx="2">
                  <c:v>7.3099415204678359E-2</c:v>
                </c:pt>
                <c:pt idx="3">
                  <c:v>3.5422343324250684E-2</c:v>
                </c:pt>
                <c:pt idx="4">
                  <c:v>0</c:v>
                </c:pt>
                <c:pt idx="5">
                  <c:v>-7.8947368421052634E-3</c:v>
                </c:pt>
                <c:pt idx="6">
                  <c:v>2.6525198938992044E-2</c:v>
                </c:pt>
                <c:pt idx="7">
                  <c:v>2.5839793281653748E-3</c:v>
                </c:pt>
              </c:numCache>
            </c:numRef>
          </c:val>
          <c:smooth val="0"/>
          <c:extLst>
            <c:ext xmlns:c16="http://schemas.microsoft.com/office/drawing/2014/chart" uri="{C3380CC4-5D6E-409C-BE32-E72D297353CC}">
              <c16:uniqueId val="{00000002-A54F-4B24-9CE0-D98227BC3C1A}"/>
            </c:ext>
          </c:extLst>
        </c:ser>
        <c:ser>
          <c:idx val="6"/>
          <c:order val="6"/>
          <c:tx>
            <c:strRef>
              <c:f>Sheet1!$B$47:$C$47</c:f>
              <c:strCache>
                <c:ptCount val="2"/>
                <c:pt idx="0">
                  <c:v>Iceland</c:v>
                </c:pt>
                <c:pt idx="1">
                  <c:v>Construction</c:v>
                </c:pt>
              </c:strCache>
            </c:strRef>
          </c:tx>
          <c:spPr>
            <a:ln w="31750" cap="rnd">
              <a:solidFill>
                <a:schemeClr val="accent3"/>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7:$M$47</c:f>
              <c:numCache>
                <c:formatCode>0.0\ %</c:formatCode>
                <c:ptCount val="9"/>
                <c:pt idx="0">
                  <c:v>8.5106382978723291E-2</c:v>
                </c:pt>
                <c:pt idx="1">
                  <c:v>0.14705882352941177</c:v>
                </c:pt>
                <c:pt idx="2">
                  <c:v>0.15384615384615391</c:v>
                </c:pt>
                <c:pt idx="3">
                  <c:v>8.148148148148146E-2</c:v>
                </c:pt>
                <c:pt idx="4">
                  <c:v>2.7397260273972629E-2</c:v>
                </c:pt>
                <c:pt idx="5">
                  <c:v>-7.3333333333333306E-2</c:v>
                </c:pt>
                <c:pt idx="6">
                  <c:v>4.3165467625899255E-2</c:v>
                </c:pt>
                <c:pt idx="7">
                  <c:v>0.11724137931034478</c:v>
                </c:pt>
                <c:pt idx="8">
                  <c:v>0.10493827160493824</c:v>
                </c:pt>
              </c:numCache>
            </c:numRef>
          </c:val>
          <c:smooth val="0"/>
          <c:extLst>
            <c:ext xmlns:c16="http://schemas.microsoft.com/office/drawing/2014/chart" uri="{C3380CC4-5D6E-409C-BE32-E72D297353CC}">
              <c16:uniqueId val="{00000003-A54F-4B24-9CE0-D98227BC3C1A}"/>
            </c:ext>
          </c:extLst>
        </c:ser>
        <c:ser>
          <c:idx val="8"/>
          <c:order val="8"/>
          <c:tx>
            <c:strRef>
              <c:f>Sheet1!$B$49:$C$49</c:f>
              <c:strCache>
                <c:ptCount val="2"/>
                <c:pt idx="0">
                  <c:v>Norway</c:v>
                </c:pt>
                <c:pt idx="1">
                  <c:v>Construction</c:v>
                </c:pt>
              </c:strCache>
            </c:strRef>
          </c:tx>
          <c:spPr>
            <a:ln w="31750" cap="rnd">
              <a:solidFill>
                <a:schemeClr val="accent4"/>
              </a:solidFill>
              <a:round/>
            </a:ln>
            <a:effectLst/>
          </c:spPr>
          <c:marker>
            <c:symbol val="none"/>
          </c:marker>
          <c:cat>
            <c:numRef>
              <c:f>Sheet1!$D$40:$M$4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D$49:$M$49</c:f>
              <c:numCache>
                <c:formatCode>0.0\ %</c:formatCode>
                <c:ptCount val="9"/>
                <c:pt idx="0">
                  <c:v>2.3809523809523808E-2</c:v>
                </c:pt>
                <c:pt idx="1">
                  <c:v>2.7906976744186046E-2</c:v>
                </c:pt>
                <c:pt idx="2">
                  <c:v>4.072398190045249E-2</c:v>
                </c:pt>
                <c:pt idx="3">
                  <c:v>3.4782608695652174E-2</c:v>
                </c:pt>
                <c:pt idx="4">
                  <c:v>2.9411764705882353E-2</c:v>
                </c:pt>
                <c:pt idx="5">
                  <c:v>0</c:v>
                </c:pt>
                <c:pt idx="6">
                  <c:v>4.0816326530612249E-3</c:v>
                </c:pt>
                <c:pt idx="7">
                  <c:v>4.878048780487805E-2</c:v>
                </c:pt>
                <c:pt idx="8">
                  <c:v>1.937984496124031E-2</c:v>
                </c:pt>
              </c:numCache>
            </c:numRef>
          </c:val>
          <c:smooth val="0"/>
          <c:extLst>
            <c:ext xmlns:c16="http://schemas.microsoft.com/office/drawing/2014/chart" uri="{C3380CC4-5D6E-409C-BE32-E72D297353CC}">
              <c16:uniqueId val="{00000004-A54F-4B24-9CE0-D98227BC3C1A}"/>
            </c:ext>
          </c:extLst>
        </c:ser>
        <c:dLbls>
          <c:showLegendKey val="0"/>
          <c:showVal val="0"/>
          <c:showCatName val="0"/>
          <c:showSerName val="0"/>
          <c:showPercent val="0"/>
          <c:showBubbleSize val="0"/>
        </c:dLbls>
        <c:smooth val="0"/>
        <c:axId val="948329944"/>
        <c:axId val="948330304"/>
        <c:extLst>
          <c:ext xmlns:c15="http://schemas.microsoft.com/office/drawing/2012/chart" uri="{02D57815-91ED-43cb-92C2-25804820EDAC}">
            <c15:filteredLineSeries>
              <c15:ser>
                <c:idx val="1"/>
                <c:order val="1"/>
                <c:tx>
                  <c:strRef>
                    <c:extLst>
                      <c:ext uri="{02D57815-91ED-43cb-92C2-25804820EDAC}">
                        <c15:formulaRef>
                          <c15:sqref>Sheet1!$B$42:$C$42</c15:sqref>
                        </c15:formulaRef>
                      </c:ext>
                    </c:extLst>
                    <c:strCache>
                      <c:ptCount val="2"/>
                      <c:pt idx="0">
                        <c:v>Denmark</c:v>
                      </c:pt>
                      <c:pt idx="1">
                        <c:v>Architectural and engineering activities; technical testing and analysis</c:v>
                      </c:pt>
                    </c:strCache>
                  </c:strRef>
                </c:tx>
                <c:spPr>
                  <a:ln w="31750" cap="rnd">
                    <a:solidFill>
                      <a:schemeClr val="accent2"/>
                    </a:solidFill>
                    <a:round/>
                  </a:ln>
                  <a:effectLst/>
                </c:spPr>
                <c:marker>
                  <c:symbol val="none"/>
                </c:marker>
                <c:cat>
                  <c:numRef>
                    <c:extLst>
                      <c:ex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c:ext uri="{02D57815-91ED-43cb-92C2-25804820EDAC}">
                        <c15:formulaRef>
                          <c15:sqref>Sheet1!$D$42:$M$42</c15:sqref>
                        </c15:formulaRef>
                      </c:ext>
                    </c:extLst>
                    <c:numCache>
                      <c:formatCode>0.0\ %</c:formatCode>
                      <c:ptCount val="9"/>
                      <c:pt idx="0">
                        <c:v>4.2605951307484236E-2</c:v>
                      </c:pt>
                      <c:pt idx="1">
                        <c:v>3.7189189189189162E-2</c:v>
                      </c:pt>
                      <c:pt idx="2">
                        <c:v>2.7934125495101176E-2</c:v>
                      </c:pt>
                      <c:pt idx="3">
                        <c:v>3.0622591766375946E-2</c:v>
                      </c:pt>
                      <c:pt idx="4">
                        <c:v>-2.4596615505706413E-2</c:v>
                      </c:pt>
                      <c:pt idx="5">
                        <c:v>-5.4468428484971375E-3</c:v>
                      </c:pt>
                      <c:pt idx="6">
                        <c:v>4.5030425963488968E-2</c:v>
                      </c:pt>
                      <c:pt idx="7">
                        <c:v>6.0170807453416034E-2</c:v>
                      </c:pt>
                    </c:numCache>
                  </c:numRef>
                </c:val>
                <c:smooth val="0"/>
                <c:extLst>
                  <c:ext xmlns:c16="http://schemas.microsoft.com/office/drawing/2014/chart" uri="{C3380CC4-5D6E-409C-BE32-E72D297353CC}">
                    <c16:uniqueId val="{00000005-A54F-4B24-9CE0-D98227BC3C1A}"/>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heet1!$B$44:$C$44</c15:sqref>
                        </c15:formulaRef>
                      </c:ext>
                    </c:extLst>
                    <c:strCache>
                      <c:ptCount val="2"/>
                      <c:pt idx="0">
                        <c:v>Finland</c:v>
                      </c:pt>
                      <c:pt idx="1">
                        <c:v>Architectural and engineering activities; technical testing and analysis</c:v>
                      </c:pt>
                    </c:strCache>
                  </c:strRef>
                </c:tx>
                <c:spPr>
                  <a:ln w="31750"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44:$M$44</c15:sqref>
                        </c15:formulaRef>
                      </c:ext>
                    </c:extLst>
                    <c:numCache>
                      <c:formatCode>0.0\ %</c:formatCode>
                      <c:ptCount val="9"/>
                      <c:pt idx="0">
                        <c:v>2.6052104208416919E-2</c:v>
                      </c:pt>
                      <c:pt idx="1">
                        <c:v>2.3437499999999917E-2</c:v>
                      </c:pt>
                      <c:pt idx="2">
                        <c:v>1.3358778625954254E-2</c:v>
                      </c:pt>
                      <c:pt idx="3">
                        <c:v>2.8248587570621469E-2</c:v>
                      </c:pt>
                      <c:pt idx="4">
                        <c:v>1.46520146520146E-2</c:v>
                      </c:pt>
                      <c:pt idx="5">
                        <c:v>1.9855595667870062E-2</c:v>
                      </c:pt>
                      <c:pt idx="6">
                        <c:v>1.7699115044247787E-2</c:v>
                      </c:pt>
                      <c:pt idx="7">
                        <c:v>1.7391304347826087E-2</c:v>
                      </c:pt>
                      <c:pt idx="8">
                        <c:v>-8.5470085470085479E-3</c:v>
                      </c:pt>
                    </c:numCache>
                  </c:numRef>
                </c:val>
                <c:smooth val="0"/>
                <c:extLst xmlns:c15="http://schemas.microsoft.com/office/drawing/2012/chart">
                  <c:ext xmlns:c16="http://schemas.microsoft.com/office/drawing/2014/chart" uri="{C3380CC4-5D6E-409C-BE32-E72D297353CC}">
                    <c16:uniqueId val="{00000006-A54F-4B24-9CE0-D98227BC3C1A}"/>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Sheet1!$B$46:$C$46</c15:sqref>
                        </c15:formulaRef>
                      </c:ext>
                    </c:extLst>
                    <c:strCache>
                      <c:ptCount val="2"/>
                      <c:pt idx="0">
                        <c:v>Sweden</c:v>
                      </c:pt>
                      <c:pt idx="1">
                        <c:v>Architectural and engineering activities; technical testing and analysis</c:v>
                      </c:pt>
                    </c:strCache>
                  </c:strRef>
                </c:tx>
                <c:spPr>
                  <a:ln w="31750"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46:$M$46</c15:sqref>
                        </c15:formulaRef>
                      </c:ext>
                    </c:extLst>
                    <c:numCache>
                      <c:formatCode>0.0\ %</c:formatCode>
                      <c:ptCount val="9"/>
                      <c:pt idx="0">
                        <c:v>3.2967032967032968E-2</c:v>
                      </c:pt>
                      <c:pt idx="1">
                        <c:v>1.0638297872340425E-2</c:v>
                      </c:pt>
                      <c:pt idx="2">
                        <c:v>8.4210526315789472E-2</c:v>
                      </c:pt>
                      <c:pt idx="3">
                        <c:v>3.8834951456310676E-2</c:v>
                      </c:pt>
                      <c:pt idx="4">
                        <c:v>3.7383177570093455E-2</c:v>
                      </c:pt>
                      <c:pt idx="5">
                        <c:v>-2.7027027027027029E-2</c:v>
                      </c:pt>
                      <c:pt idx="6">
                        <c:v>1.8518518518518517E-2</c:v>
                      </c:pt>
                      <c:pt idx="8">
                        <c:v>0</c:v>
                      </c:pt>
                    </c:numCache>
                  </c:numRef>
                </c:val>
                <c:smooth val="0"/>
                <c:extLst xmlns:c15="http://schemas.microsoft.com/office/drawing/2012/chart">
                  <c:ext xmlns:c16="http://schemas.microsoft.com/office/drawing/2014/chart" uri="{C3380CC4-5D6E-409C-BE32-E72D297353CC}">
                    <c16:uniqueId val="{00000007-A54F-4B24-9CE0-D98227BC3C1A}"/>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Sheet1!$B$48:$C$48</c15:sqref>
                        </c15:formulaRef>
                      </c:ext>
                    </c:extLst>
                    <c:strCache>
                      <c:ptCount val="2"/>
                      <c:pt idx="0">
                        <c:v>Iceland</c:v>
                      </c:pt>
                      <c:pt idx="1">
                        <c:v>Architectural and engineering activities; technical testing and analysis</c:v>
                      </c:pt>
                    </c:strCache>
                  </c:strRef>
                </c:tx>
                <c:spPr>
                  <a:ln w="31750"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48:$M$48</c15:sqref>
                        </c15:formulaRef>
                      </c:ext>
                    </c:extLst>
                    <c:numCache>
                      <c:formatCode>0.0\ %</c:formatCode>
                      <c:ptCount val="9"/>
                      <c:pt idx="0">
                        <c:v>0</c:v>
                      </c:pt>
                      <c:pt idx="1">
                        <c:v>8.6956521739130516E-2</c:v>
                      </c:pt>
                      <c:pt idx="2">
                        <c:v>4.0000000000000036E-2</c:v>
                      </c:pt>
                      <c:pt idx="3">
                        <c:v>3.8461538461538491E-2</c:v>
                      </c:pt>
                      <c:pt idx="4">
                        <c:v>0</c:v>
                      </c:pt>
                      <c:pt idx="5">
                        <c:v>-3.703703703703707E-2</c:v>
                      </c:pt>
                      <c:pt idx="6">
                        <c:v>0</c:v>
                      </c:pt>
                      <c:pt idx="7">
                        <c:v>7.6923076923076816E-2</c:v>
                      </c:pt>
                      <c:pt idx="8">
                        <c:v>7.1428571428571494E-2</c:v>
                      </c:pt>
                    </c:numCache>
                  </c:numRef>
                </c:val>
                <c:smooth val="0"/>
                <c:extLst xmlns:c15="http://schemas.microsoft.com/office/drawing/2012/chart">
                  <c:ext xmlns:c16="http://schemas.microsoft.com/office/drawing/2014/chart" uri="{C3380CC4-5D6E-409C-BE32-E72D297353CC}">
                    <c16:uniqueId val="{00000008-A54F-4B24-9CE0-D98227BC3C1A}"/>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Sheet1!$B$50:$C$50</c15:sqref>
                        </c15:formulaRef>
                      </c:ext>
                    </c:extLst>
                    <c:strCache>
                      <c:ptCount val="2"/>
                      <c:pt idx="0">
                        <c:v>Norway</c:v>
                      </c:pt>
                      <c:pt idx="1">
                        <c:v>Architectural and engineering activities; technical testing and analysis</c:v>
                      </c:pt>
                    </c:strCache>
                  </c:strRef>
                </c:tx>
                <c:spPr>
                  <a:ln w="31750" cap="rnd">
                    <a:solidFill>
                      <a:schemeClr val="accent4">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Sheet1!$D$40:$M$40</c15:sqref>
                        </c15:formulaRef>
                      </c:ext>
                    </c:extLst>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extLst xmlns:c15="http://schemas.microsoft.com/office/drawing/2012/chart">
                      <c:ext xmlns:c15="http://schemas.microsoft.com/office/drawing/2012/chart" uri="{02D57815-91ED-43cb-92C2-25804820EDAC}">
                        <c15:formulaRef>
                          <c15:sqref>Sheet1!$D$50:$M$50</c15:sqref>
                        </c15:formulaRef>
                      </c:ext>
                    </c:extLst>
                    <c:numCache>
                      <c:formatCode>0.0\ %</c:formatCode>
                      <c:ptCount val="9"/>
                      <c:pt idx="0">
                        <c:v>0</c:v>
                      </c:pt>
                      <c:pt idx="1">
                        <c:v>-3.7037037037037035E-2</c:v>
                      </c:pt>
                      <c:pt idx="2">
                        <c:v>-3.8461538461538464E-2</c:v>
                      </c:pt>
                      <c:pt idx="3">
                        <c:v>0.06</c:v>
                      </c:pt>
                      <c:pt idx="4">
                        <c:v>5.6603773584905662E-2</c:v>
                      </c:pt>
                      <c:pt idx="5">
                        <c:v>0</c:v>
                      </c:pt>
                      <c:pt idx="6">
                        <c:v>1.7857142857142856E-2</c:v>
                      </c:pt>
                    </c:numCache>
                  </c:numRef>
                </c:val>
                <c:smooth val="0"/>
                <c:extLst xmlns:c15="http://schemas.microsoft.com/office/drawing/2012/chart">
                  <c:ext xmlns:c16="http://schemas.microsoft.com/office/drawing/2014/chart" uri="{C3380CC4-5D6E-409C-BE32-E72D297353CC}">
                    <c16:uniqueId val="{00000009-A54F-4B24-9CE0-D98227BC3C1A}"/>
                  </c:ext>
                </c:extLst>
              </c15:ser>
            </c15:filteredLineSeries>
          </c:ext>
        </c:extLst>
      </c:lineChart>
      <c:catAx>
        <c:axId val="948329944"/>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948330304"/>
        <c:crosses val="autoZero"/>
        <c:auto val="1"/>
        <c:lblAlgn val="ctr"/>
        <c:lblOffset val="100"/>
        <c:noMultiLvlLbl val="0"/>
      </c:catAx>
      <c:valAx>
        <c:axId val="948330304"/>
        <c:scaling>
          <c:orientation val="minMax"/>
        </c:scaling>
        <c:delete val="0"/>
        <c:axPos val="l"/>
        <c:majorGridlines>
          <c:spPr>
            <a:ln w="9525" cap="flat" cmpd="sng" algn="ctr">
              <a:solidFill>
                <a:schemeClr val="tx2">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ysClr val="windowText" lastClr="000000"/>
                </a:solidFill>
                <a:latin typeface="+mn-lt"/>
                <a:ea typeface="+mn-ea"/>
                <a:cs typeface="+mn-cs"/>
              </a:defRPr>
            </a:pPr>
            <a:endParaRPr lang="fi-FI"/>
          </a:p>
        </c:txPr>
        <c:crossAx val="948329944"/>
        <c:crosses val="autoZero"/>
        <c:crossBetween val="between"/>
      </c:valAx>
      <c:spPr>
        <a:noFill/>
        <a:ln>
          <a:noFill/>
        </a:ln>
        <a:effectLst/>
      </c:spPr>
    </c:plotArea>
    <c:legend>
      <c:legendPos val="b"/>
      <c:layout>
        <c:manualLayout>
          <c:xMode val="edge"/>
          <c:yMode val="edge"/>
          <c:x val="4.5510175914847767E-2"/>
          <c:y val="0.86689321967284205"/>
          <c:w val="0.92460988150735934"/>
          <c:h val="0.10728922438912003"/>
        </c:manualLayout>
      </c:layout>
      <c:overlay val="0"/>
      <c:spPr>
        <a:noFill/>
        <a:ln>
          <a:noFill/>
        </a:ln>
        <a:effectLst/>
      </c:spPr>
      <c:txPr>
        <a:bodyPr rot="0" spcFirstLastPara="1" vertOverflow="ellipsis" vert="horz" wrap="square" anchor="ctr" anchorCtr="1"/>
        <a:lstStyle/>
        <a:p>
          <a:pPr>
            <a:defRPr sz="7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500"/>
      </a:pPr>
      <a:endParaRPr lang="fi-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I$29</c:f>
              <c:strCache>
                <c:ptCount val="1"/>
                <c:pt idx="0">
                  <c:v>Yksityisen kulutuksen muutos-%</c:v>
                </c:pt>
              </c:strCache>
            </c:strRef>
          </c:tx>
          <c:spPr>
            <a:ln w="28575" cap="rnd">
              <a:solidFill>
                <a:schemeClr val="accent1"/>
              </a:solidFill>
              <a:round/>
            </a:ln>
            <a:effectLst/>
          </c:spPr>
          <c:marker>
            <c:symbol val="none"/>
          </c:marker>
          <c:cat>
            <c:numRef>
              <c:f>'Talouden kehitysennusteet'!$H$30:$H$32</c:f>
              <c:numCache>
                <c:formatCode>General</c:formatCode>
                <c:ptCount val="3"/>
                <c:pt idx="0">
                  <c:v>2023</c:v>
                </c:pt>
                <c:pt idx="1">
                  <c:v>2024</c:v>
                </c:pt>
                <c:pt idx="2">
                  <c:v>2025</c:v>
                </c:pt>
              </c:numCache>
            </c:numRef>
          </c:cat>
          <c:val>
            <c:numRef>
              <c:f>'Talouden kehitysennusteet'!$I$30:$I$32</c:f>
              <c:numCache>
                <c:formatCode>0.0</c:formatCode>
                <c:ptCount val="3"/>
                <c:pt idx="0">
                  <c:v>2.2000000000000002</c:v>
                </c:pt>
                <c:pt idx="1">
                  <c:v>-0.5444444444444444</c:v>
                </c:pt>
                <c:pt idx="2">
                  <c:v>0.82222222222222219</c:v>
                </c:pt>
              </c:numCache>
            </c:numRef>
          </c:val>
          <c:smooth val="0"/>
          <c:extLst>
            <c:ext xmlns:c16="http://schemas.microsoft.com/office/drawing/2014/chart" uri="{C3380CC4-5D6E-409C-BE32-E72D297353CC}">
              <c16:uniqueId val="{00000000-B34A-4AE4-A1A8-285C241EAD8D}"/>
            </c:ext>
          </c:extLst>
        </c:ser>
        <c:dLbls>
          <c:showLegendKey val="0"/>
          <c:showVal val="0"/>
          <c:showCatName val="0"/>
          <c:showSerName val="0"/>
          <c:showPercent val="0"/>
          <c:showBubbleSize val="0"/>
        </c:dLbls>
        <c:smooth val="0"/>
        <c:axId val="759678056"/>
        <c:axId val="759670512"/>
      </c:lineChart>
      <c:catAx>
        <c:axId val="759678056"/>
        <c:scaling>
          <c:orientation val="minMax"/>
        </c:scaling>
        <c:delete val="0"/>
        <c:axPos val="b"/>
        <c:numFmt formatCode="General" sourceLinked="1"/>
        <c:majorTickMark val="none"/>
        <c:minorTickMark val="none"/>
        <c:tickLblPos val="low"/>
        <c:spPr>
          <a:noFill/>
          <a:ln w="1905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59670512"/>
        <c:crosses val="autoZero"/>
        <c:auto val="1"/>
        <c:lblAlgn val="ctr"/>
        <c:lblOffset val="100"/>
        <c:noMultiLvlLbl val="0"/>
      </c:catAx>
      <c:valAx>
        <c:axId val="75967051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59678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M$29</c:f>
              <c:strCache>
                <c:ptCount val="1"/>
                <c:pt idx="0">
                  <c:v>Viennin muutos-%</c:v>
                </c:pt>
              </c:strCache>
            </c:strRef>
          </c:tx>
          <c:spPr>
            <a:ln w="28575" cap="rnd">
              <a:solidFill>
                <a:schemeClr val="accent1"/>
              </a:solidFill>
              <a:round/>
            </a:ln>
            <a:effectLst/>
          </c:spPr>
          <c:marker>
            <c:symbol val="none"/>
          </c:marker>
          <c:cat>
            <c:numRef>
              <c:f>'Talouden kehitysennusteet'!$L$30:$L$32</c:f>
              <c:numCache>
                <c:formatCode>General</c:formatCode>
                <c:ptCount val="3"/>
                <c:pt idx="0">
                  <c:v>2023</c:v>
                </c:pt>
                <c:pt idx="1">
                  <c:v>2024</c:v>
                </c:pt>
                <c:pt idx="2">
                  <c:v>2025</c:v>
                </c:pt>
              </c:numCache>
            </c:numRef>
          </c:cat>
          <c:val>
            <c:numRef>
              <c:f>'Talouden kehitysennusteet'!$M$30:$M$32</c:f>
              <c:numCache>
                <c:formatCode>0.0</c:formatCode>
                <c:ptCount val="3"/>
                <c:pt idx="0">
                  <c:v>1.7799999999999998</c:v>
                </c:pt>
                <c:pt idx="1">
                  <c:v>0.48</c:v>
                </c:pt>
                <c:pt idx="2">
                  <c:v>3.07</c:v>
                </c:pt>
              </c:numCache>
            </c:numRef>
          </c:val>
          <c:smooth val="0"/>
          <c:extLst>
            <c:ext xmlns:c16="http://schemas.microsoft.com/office/drawing/2014/chart" uri="{C3380CC4-5D6E-409C-BE32-E72D297353CC}">
              <c16:uniqueId val="{00000000-9B55-4821-B442-BEBC001920BB}"/>
            </c:ext>
          </c:extLst>
        </c:ser>
        <c:dLbls>
          <c:showLegendKey val="0"/>
          <c:showVal val="0"/>
          <c:showCatName val="0"/>
          <c:showSerName val="0"/>
          <c:showPercent val="0"/>
          <c:showBubbleSize val="0"/>
        </c:dLbls>
        <c:smooth val="0"/>
        <c:axId val="775175896"/>
        <c:axId val="775175240"/>
      </c:lineChart>
      <c:catAx>
        <c:axId val="7751758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75175240"/>
        <c:crosses val="autoZero"/>
        <c:auto val="1"/>
        <c:lblAlgn val="ctr"/>
        <c:lblOffset val="100"/>
        <c:noMultiLvlLbl val="0"/>
      </c:catAx>
      <c:valAx>
        <c:axId val="77517524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75175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r>
              <a:rPr lang="fi-FI" sz="700" b="1"/>
              <a:t>Investointien muutos-%</a:t>
            </a:r>
          </a:p>
        </c:rich>
      </c:tx>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Q$29</c:f>
              <c:strCache>
                <c:ptCount val="1"/>
                <c:pt idx="0">
                  <c:v>Investointien muutos-%</c:v>
                </c:pt>
              </c:strCache>
            </c:strRef>
          </c:tx>
          <c:spPr>
            <a:ln w="28575" cap="rnd">
              <a:solidFill>
                <a:schemeClr val="accent1"/>
              </a:solidFill>
              <a:round/>
            </a:ln>
            <a:effectLst/>
          </c:spPr>
          <c:marker>
            <c:symbol val="none"/>
          </c:marker>
          <c:cat>
            <c:numRef>
              <c:f>'Talouden kehitysennusteet'!$P$30:$P$32</c:f>
              <c:numCache>
                <c:formatCode>General</c:formatCode>
                <c:ptCount val="3"/>
                <c:pt idx="0">
                  <c:v>2023</c:v>
                </c:pt>
                <c:pt idx="1">
                  <c:v>2024</c:v>
                </c:pt>
                <c:pt idx="2">
                  <c:v>2025</c:v>
                </c:pt>
              </c:numCache>
            </c:numRef>
          </c:cat>
          <c:val>
            <c:numRef>
              <c:f>'Talouden kehitysennusteet'!$Q$30:$Q$32</c:f>
              <c:numCache>
                <c:formatCode>0.0</c:formatCode>
                <c:ptCount val="3"/>
                <c:pt idx="0">
                  <c:v>4.7777777777777777</c:v>
                </c:pt>
                <c:pt idx="1">
                  <c:v>-1.7666666666666666</c:v>
                </c:pt>
                <c:pt idx="2">
                  <c:v>0.60000000000000009</c:v>
                </c:pt>
              </c:numCache>
            </c:numRef>
          </c:val>
          <c:smooth val="0"/>
          <c:extLst>
            <c:ext xmlns:c16="http://schemas.microsoft.com/office/drawing/2014/chart" uri="{C3380CC4-5D6E-409C-BE32-E72D297353CC}">
              <c16:uniqueId val="{00000000-91D3-4374-A92E-81E4A34A41DC}"/>
            </c:ext>
          </c:extLst>
        </c:ser>
        <c:dLbls>
          <c:showLegendKey val="0"/>
          <c:showVal val="0"/>
          <c:showCatName val="0"/>
          <c:showSerName val="0"/>
          <c:showPercent val="0"/>
          <c:showBubbleSize val="0"/>
        </c:dLbls>
        <c:smooth val="0"/>
        <c:axId val="781797824"/>
        <c:axId val="781794544"/>
      </c:lineChart>
      <c:catAx>
        <c:axId val="781797824"/>
        <c:scaling>
          <c:orientation val="minMax"/>
        </c:scaling>
        <c:delete val="0"/>
        <c:axPos val="b"/>
        <c:numFmt formatCode="General" sourceLinked="1"/>
        <c:majorTickMark val="none"/>
        <c:minorTickMark val="none"/>
        <c:tickLblPos val="low"/>
        <c:spPr>
          <a:noFill/>
          <a:ln w="1905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794544"/>
        <c:crosses val="autoZero"/>
        <c:auto val="1"/>
        <c:lblAlgn val="ctr"/>
        <c:lblOffset val="100"/>
        <c:noMultiLvlLbl val="0"/>
      </c:catAx>
      <c:valAx>
        <c:axId val="78179454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7978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Y$29</c:f>
              <c:strCache>
                <c:ptCount val="1"/>
                <c:pt idx="0">
                  <c:v>Työttömyysaste, %</c:v>
                </c:pt>
              </c:strCache>
            </c:strRef>
          </c:tx>
          <c:spPr>
            <a:ln w="28575" cap="rnd">
              <a:solidFill>
                <a:schemeClr val="accent1"/>
              </a:solidFill>
              <a:round/>
            </a:ln>
            <a:effectLst/>
          </c:spPr>
          <c:marker>
            <c:symbol val="none"/>
          </c:marker>
          <c:cat>
            <c:numRef>
              <c:f>'Talouden kehitysennusteet'!$X$30:$X$32</c:f>
              <c:numCache>
                <c:formatCode>General</c:formatCode>
                <c:ptCount val="3"/>
                <c:pt idx="0">
                  <c:v>2023</c:v>
                </c:pt>
                <c:pt idx="1">
                  <c:v>2024</c:v>
                </c:pt>
                <c:pt idx="2">
                  <c:v>2025</c:v>
                </c:pt>
              </c:numCache>
            </c:numRef>
          </c:cat>
          <c:val>
            <c:numRef>
              <c:f>'Talouden kehitysennusteet'!$Y$30:$Y$32</c:f>
              <c:numCache>
                <c:formatCode>0.0</c:formatCode>
                <c:ptCount val="3"/>
                <c:pt idx="0">
                  <c:v>6.8199999999999985</c:v>
                </c:pt>
                <c:pt idx="1">
                  <c:v>7.1400000000000006</c:v>
                </c:pt>
                <c:pt idx="2">
                  <c:v>7.17</c:v>
                </c:pt>
              </c:numCache>
            </c:numRef>
          </c:val>
          <c:smooth val="0"/>
          <c:extLst>
            <c:ext xmlns:c16="http://schemas.microsoft.com/office/drawing/2014/chart" uri="{C3380CC4-5D6E-409C-BE32-E72D297353CC}">
              <c16:uniqueId val="{00000000-B20C-4E36-B7F3-C5905E4B92B9}"/>
            </c:ext>
          </c:extLst>
        </c:ser>
        <c:dLbls>
          <c:showLegendKey val="0"/>
          <c:showVal val="0"/>
          <c:showCatName val="0"/>
          <c:showSerName val="0"/>
          <c:showPercent val="0"/>
          <c:showBubbleSize val="0"/>
        </c:dLbls>
        <c:smooth val="0"/>
        <c:axId val="781991736"/>
        <c:axId val="781989112"/>
      </c:lineChart>
      <c:catAx>
        <c:axId val="7819917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989112"/>
        <c:crosses val="autoZero"/>
        <c:auto val="1"/>
        <c:lblAlgn val="ctr"/>
        <c:lblOffset val="100"/>
        <c:noMultiLvlLbl val="0"/>
      </c:catAx>
      <c:valAx>
        <c:axId val="781989112"/>
        <c:scaling>
          <c:orientation val="minMax"/>
          <c:min val="6.8"/>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781991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700" b="1" i="0" u="none" strike="noStrike" kern="1200" spc="0" baseline="0">
              <a:solidFill>
                <a:schemeClr val="bg1"/>
              </a:solidFill>
              <a:latin typeface="+mn-lt"/>
              <a:ea typeface="+mn-ea"/>
              <a:cs typeface="+mn-cs"/>
            </a:defRPr>
          </a:pPr>
          <a:endParaRPr lang="fi-FI"/>
        </a:p>
      </c:txPr>
    </c:title>
    <c:autoTitleDeleted val="0"/>
    <c:plotArea>
      <c:layout/>
      <c:lineChart>
        <c:grouping val="standard"/>
        <c:varyColors val="0"/>
        <c:ser>
          <c:idx val="0"/>
          <c:order val="0"/>
          <c:tx>
            <c:strRef>
              <c:f>'Talouden kehitysennusteet'!$U$29</c:f>
              <c:strCache>
                <c:ptCount val="1"/>
                <c:pt idx="0">
                  <c:v>Inflaatio, %</c:v>
                </c:pt>
              </c:strCache>
            </c:strRef>
          </c:tx>
          <c:spPr>
            <a:ln w="28575" cap="rnd">
              <a:solidFill>
                <a:schemeClr val="accent1"/>
              </a:solidFill>
              <a:round/>
            </a:ln>
            <a:effectLst/>
          </c:spPr>
          <c:marker>
            <c:symbol val="none"/>
          </c:marker>
          <c:cat>
            <c:numRef>
              <c:f>'Talouden kehitysennusteet'!$T$30:$T$32</c:f>
              <c:numCache>
                <c:formatCode>General</c:formatCode>
                <c:ptCount val="3"/>
                <c:pt idx="0">
                  <c:v>2023</c:v>
                </c:pt>
                <c:pt idx="1">
                  <c:v>2024</c:v>
                </c:pt>
                <c:pt idx="2">
                  <c:v>2025</c:v>
                </c:pt>
              </c:numCache>
            </c:numRef>
          </c:cat>
          <c:val>
            <c:numRef>
              <c:f>'Talouden kehitysennusteet'!$U$30:$U$32</c:f>
              <c:numCache>
                <c:formatCode>0.0</c:formatCode>
                <c:ptCount val="3"/>
                <c:pt idx="0">
                  <c:v>7.1300000000000008</c:v>
                </c:pt>
                <c:pt idx="1">
                  <c:v>5.2299999999999995</c:v>
                </c:pt>
                <c:pt idx="2">
                  <c:v>2.16</c:v>
                </c:pt>
              </c:numCache>
            </c:numRef>
          </c:val>
          <c:smooth val="0"/>
          <c:extLst>
            <c:ext xmlns:c16="http://schemas.microsoft.com/office/drawing/2014/chart" uri="{C3380CC4-5D6E-409C-BE32-E72D297353CC}">
              <c16:uniqueId val="{00000000-6309-4108-A4CA-95492AEB4A57}"/>
            </c:ext>
          </c:extLst>
        </c:ser>
        <c:dLbls>
          <c:showLegendKey val="0"/>
          <c:showVal val="0"/>
          <c:showCatName val="0"/>
          <c:showSerName val="0"/>
          <c:showPercent val="0"/>
          <c:showBubbleSize val="0"/>
        </c:dLbls>
        <c:smooth val="0"/>
        <c:axId val="862249544"/>
        <c:axId val="862242656"/>
      </c:lineChart>
      <c:catAx>
        <c:axId val="8622495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862242656"/>
        <c:crosses val="autoZero"/>
        <c:auto val="1"/>
        <c:lblAlgn val="ctr"/>
        <c:lblOffset val="100"/>
        <c:noMultiLvlLbl val="0"/>
      </c:catAx>
      <c:valAx>
        <c:axId val="86224265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bg1"/>
                </a:solidFill>
                <a:latin typeface="+mn-lt"/>
                <a:ea typeface="+mn-ea"/>
                <a:cs typeface="+mn-cs"/>
              </a:defRPr>
            </a:pPr>
            <a:endParaRPr lang="fi-FI"/>
          </a:p>
        </c:txPr>
        <c:crossAx val="862249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chemeClr val="bg1"/>
          </a:solidFill>
        </a:defRPr>
      </a:pPr>
      <a:endParaRPr lang="fi-FI"/>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cap="none" spc="20" baseline="0">
                <a:solidFill>
                  <a:schemeClr val="tx1"/>
                </a:solidFill>
                <a:latin typeface="+mn-lt"/>
                <a:ea typeface="+mn-ea"/>
                <a:cs typeface="+mn-cs"/>
              </a:defRPr>
            </a:pPr>
            <a:r>
              <a:rPr lang="fi-FI" sz="800"/>
              <a:t>Elinkeinoelämän luottamusindikaattorit, yritysten nykyinen suhdannetilanne (kausitasoitettu saldoluku)</a:t>
            </a:r>
          </a:p>
        </c:rich>
      </c:tx>
      <c:overlay val="0"/>
      <c:spPr>
        <a:noFill/>
        <a:ln>
          <a:noFill/>
        </a:ln>
        <a:effectLst/>
      </c:spPr>
      <c:txPr>
        <a:bodyPr rot="0" spcFirstLastPara="1" vertOverflow="ellipsis" vert="horz" wrap="square" anchor="ctr" anchorCtr="1"/>
        <a:lstStyle/>
        <a:p>
          <a:pPr>
            <a:defRPr sz="800" b="0" i="0" u="none" strike="noStrike" kern="1200" cap="none" spc="20" baseline="0">
              <a:solidFill>
                <a:schemeClr val="tx1"/>
              </a:solidFill>
              <a:latin typeface="+mn-lt"/>
              <a:ea typeface="+mn-ea"/>
              <a:cs typeface="+mn-cs"/>
            </a:defRPr>
          </a:pPr>
          <a:endParaRPr lang="fi-FI"/>
        </a:p>
      </c:txPr>
    </c:title>
    <c:autoTitleDeleted val="0"/>
    <c:plotArea>
      <c:layout>
        <c:manualLayout>
          <c:layoutTarget val="inner"/>
          <c:xMode val="edge"/>
          <c:yMode val="edge"/>
          <c:x val="3.0709535902391512E-2"/>
          <c:y val="0.20900246915594942"/>
          <c:w val="0.95276577921104744"/>
          <c:h val="0.61515074453188712"/>
        </c:manualLayout>
      </c:layout>
      <c:lineChart>
        <c:grouping val="standard"/>
        <c:varyColors val="0"/>
        <c:ser>
          <c:idx val="0"/>
          <c:order val="0"/>
          <c:tx>
            <c:strRef>
              <c:f>Luottamusindikaattori!$G$6</c:f>
              <c:strCache>
                <c:ptCount val="1"/>
                <c:pt idx="0">
                  <c:v>Teollisuus</c:v>
                </c:pt>
              </c:strCache>
            </c:strRef>
          </c:tx>
          <c:spPr>
            <a:ln w="22225" cap="rnd" cmpd="sng" algn="ctr">
              <a:solidFill>
                <a:schemeClr val="accent1"/>
              </a:solidFill>
              <a:round/>
            </a:ln>
            <a:effectLst/>
          </c:spPr>
          <c:marker>
            <c:symbol val="none"/>
          </c:marker>
          <c:cat>
            <c:strRef>
              <c:f>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Luottamusindikaattori!$G$127:$G$241</c:f>
              <c:numCache>
                <c:formatCode>General</c:formatCode>
                <c:ptCount val="115"/>
                <c:pt idx="0">
                  <c:v>-6</c:v>
                </c:pt>
                <c:pt idx="1">
                  <c:v>-7</c:v>
                </c:pt>
                <c:pt idx="2">
                  <c:v>-9</c:v>
                </c:pt>
                <c:pt idx="3">
                  <c:v>-12</c:v>
                </c:pt>
                <c:pt idx="4">
                  <c:v>-11</c:v>
                </c:pt>
                <c:pt idx="5">
                  <c:v>-8</c:v>
                </c:pt>
                <c:pt idx="6">
                  <c:v>-10</c:v>
                </c:pt>
                <c:pt idx="7">
                  <c:v>-12</c:v>
                </c:pt>
                <c:pt idx="8">
                  <c:v>-10</c:v>
                </c:pt>
                <c:pt idx="9">
                  <c:v>-7</c:v>
                </c:pt>
                <c:pt idx="10">
                  <c:v>-10</c:v>
                </c:pt>
                <c:pt idx="11">
                  <c:v>-11</c:v>
                </c:pt>
                <c:pt idx="12">
                  <c:v>-7</c:v>
                </c:pt>
                <c:pt idx="13">
                  <c:v>-8</c:v>
                </c:pt>
                <c:pt idx="14">
                  <c:v>-4</c:v>
                </c:pt>
                <c:pt idx="15">
                  <c:v>-8</c:v>
                </c:pt>
                <c:pt idx="16">
                  <c:v>-12</c:v>
                </c:pt>
                <c:pt idx="17">
                  <c:v>-12</c:v>
                </c:pt>
                <c:pt idx="18">
                  <c:v>-13</c:v>
                </c:pt>
                <c:pt idx="19">
                  <c:v>-9</c:v>
                </c:pt>
                <c:pt idx="20">
                  <c:v>1</c:v>
                </c:pt>
                <c:pt idx="21">
                  <c:v>-1</c:v>
                </c:pt>
                <c:pt idx="22">
                  <c:v>-4</c:v>
                </c:pt>
                <c:pt idx="23">
                  <c:v>1</c:v>
                </c:pt>
                <c:pt idx="24">
                  <c:v>3</c:v>
                </c:pt>
                <c:pt idx="25">
                  <c:v>3</c:v>
                </c:pt>
                <c:pt idx="26">
                  <c:v>7</c:v>
                </c:pt>
                <c:pt idx="27">
                  <c:v>4</c:v>
                </c:pt>
                <c:pt idx="28">
                  <c:v>8</c:v>
                </c:pt>
                <c:pt idx="29">
                  <c:v>8</c:v>
                </c:pt>
                <c:pt idx="30">
                  <c:v>10</c:v>
                </c:pt>
                <c:pt idx="31">
                  <c:v>6</c:v>
                </c:pt>
                <c:pt idx="32">
                  <c:v>10</c:v>
                </c:pt>
                <c:pt idx="33">
                  <c:v>13</c:v>
                </c:pt>
                <c:pt idx="34">
                  <c:v>14</c:v>
                </c:pt>
                <c:pt idx="35">
                  <c:v>17</c:v>
                </c:pt>
                <c:pt idx="36">
                  <c:v>16</c:v>
                </c:pt>
                <c:pt idx="37">
                  <c:v>15</c:v>
                </c:pt>
                <c:pt idx="38">
                  <c:v>12</c:v>
                </c:pt>
                <c:pt idx="39">
                  <c:v>13</c:v>
                </c:pt>
                <c:pt idx="40">
                  <c:v>9</c:v>
                </c:pt>
                <c:pt idx="41">
                  <c:v>13</c:v>
                </c:pt>
                <c:pt idx="42">
                  <c:v>14</c:v>
                </c:pt>
                <c:pt idx="43">
                  <c:v>12</c:v>
                </c:pt>
                <c:pt idx="44">
                  <c:v>11</c:v>
                </c:pt>
                <c:pt idx="45">
                  <c:v>9</c:v>
                </c:pt>
                <c:pt idx="46">
                  <c:v>5</c:v>
                </c:pt>
                <c:pt idx="47">
                  <c:v>2</c:v>
                </c:pt>
                <c:pt idx="48">
                  <c:v>5</c:v>
                </c:pt>
                <c:pt idx="49">
                  <c:v>-2</c:v>
                </c:pt>
                <c:pt idx="50">
                  <c:v>0</c:v>
                </c:pt>
                <c:pt idx="51">
                  <c:v>-1</c:v>
                </c:pt>
                <c:pt idx="52">
                  <c:v>0</c:v>
                </c:pt>
                <c:pt idx="53">
                  <c:v>-6</c:v>
                </c:pt>
                <c:pt idx="54">
                  <c:v>-4</c:v>
                </c:pt>
                <c:pt idx="55">
                  <c:v>-2</c:v>
                </c:pt>
                <c:pt idx="56">
                  <c:v>-4</c:v>
                </c:pt>
                <c:pt idx="57">
                  <c:v>-7</c:v>
                </c:pt>
                <c:pt idx="58">
                  <c:v>-7</c:v>
                </c:pt>
                <c:pt idx="59">
                  <c:v>-7</c:v>
                </c:pt>
                <c:pt idx="60">
                  <c:v>-8</c:v>
                </c:pt>
                <c:pt idx="61">
                  <c:v>-4</c:v>
                </c:pt>
                <c:pt idx="62">
                  <c:v>-6</c:v>
                </c:pt>
                <c:pt idx="63">
                  <c:v>-24</c:v>
                </c:pt>
                <c:pt idx="64">
                  <c:v>-27</c:v>
                </c:pt>
                <c:pt idx="65">
                  <c:v>-26</c:v>
                </c:pt>
                <c:pt idx="66">
                  <c:v>-17</c:v>
                </c:pt>
                <c:pt idx="67">
                  <c:v>-20</c:v>
                </c:pt>
                <c:pt idx="68">
                  <c:v>-19</c:v>
                </c:pt>
                <c:pt idx="69">
                  <c:v>-13</c:v>
                </c:pt>
                <c:pt idx="70">
                  <c:v>-13</c:v>
                </c:pt>
                <c:pt idx="71">
                  <c:v>-3</c:v>
                </c:pt>
                <c:pt idx="72">
                  <c:v>2</c:v>
                </c:pt>
                <c:pt idx="73">
                  <c:v>-2</c:v>
                </c:pt>
                <c:pt idx="74">
                  <c:v>5</c:v>
                </c:pt>
                <c:pt idx="75">
                  <c:v>10</c:v>
                </c:pt>
                <c:pt idx="76">
                  <c:v>14</c:v>
                </c:pt>
                <c:pt idx="77">
                  <c:v>19</c:v>
                </c:pt>
                <c:pt idx="78">
                  <c:v>17</c:v>
                </c:pt>
                <c:pt idx="79">
                  <c:v>22</c:v>
                </c:pt>
                <c:pt idx="80">
                  <c:v>21</c:v>
                </c:pt>
                <c:pt idx="81">
                  <c:v>22</c:v>
                </c:pt>
                <c:pt idx="82">
                  <c:v>23</c:v>
                </c:pt>
                <c:pt idx="83">
                  <c:v>18</c:v>
                </c:pt>
                <c:pt idx="84">
                  <c:v>19</c:v>
                </c:pt>
                <c:pt idx="85">
                  <c:v>21</c:v>
                </c:pt>
                <c:pt idx="86">
                  <c:v>15</c:v>
                </c:pt>
                <c:pt idx="87">
                  <c:v>14</c:v>
                </c:pt>
                <c:pt idx="88">
                  <c:v>12</c:v>
                </c:pt>
                <c:pt idx="89">
                  <c:v>9</c:v>
                </c:pt>
                <c:pt idx="90">
                  <c:v>5</c:v>
                </c:pt>
                <c:pt idx="91">
                  <c:v>2</c:v>
                </c:pt>
                <c:pt idx="92">
                  <c:v>-1</c:v>
                </c:pt>
                <c:pt idx="93">
                  <c:v>-4</c:v>
                </c:pt>
                <c:pt idx="94">
                  <c:v>-7</c:v>
                </c:pt>
                <c:pt idx="95">
                  <c:v>-8</c:v>
                </c:pt>
                <c:pt idx="96">
                  <c:v>-3</c:v>
                </c:pt>
                <c:pt idx="97">
                  <c:v>-6</c:v>
                </c:pt>
                <c:pt idx="98">
                  <c:v>-12</c:v>
                </c:pt>
                <c:pt idx="99">
                  <c:v>-13</c:v>
                </c:pt>
                <c:pt idx="100">
                  <c:v>-12</c:v>
                </c:pt>
                <c:pt idx="101">
                  <c:v>-17</c:v>
                </c:pt>
                <c:pt idx="102">
                  <c:v>-20</c:v>
                </c:pt>
                <c:pt idx="103">
                  <c:v>-19</c:v>
                </c:pt>
                <c:pt idx="104">
                  <c:v>-21</c:v>
                </c:pt>
                <c:pt idx="105">
                  <c:v>-21</c:v>
                </c:pt>
                <c:pt idx="106">
                  <c:v>-21</c:v>
                </c:pt>
                <c:pt idx="107">
                  <c:v>-19</c:v>
                </c:pt>
                <c:pt idx="108">
                  <c:v>-12</c:v>
                </c:pt>
                <c:pt idx="109">
                  <c:v>-11</c:v>
                </c:pt>
                <c:pt idx="110">
                  <c:v>-13</c:v>
                </c:pt>
                <c:pt idx="111">
                  <c:v>-17</c:v>
                </c:pt>
                <c:pt idx="112">
                  <c:v>-13</c:v>
                </c:pt>
                <c:pt idx="113">
                  <c:v>-14</c:v>
                </c:pt>
                <c:pt idx="114">
                  <c:v>-12</c:v>
                </c:pt>
              </c:numCache>
            </c:numRef>
          </c:val>
          <c:smooth val="0"/>
          <c:extLst>
            <c:ext xmlns:c16="http://schemas.microsoft.com/office/drawing/2014/chart" uri="{C3380CC4-5D6E-409C-BE32-E72D297353CC}">
              <c16:uniqueId val="{00000000-0C0A-40E5-8F9A-9677C588C8DC}"/>
            </c:ext>
          </c:extLst>
        </c:ser>
        <c:ser>
          <c:idx val="1"/>
          <c:order val="1"/>
          <c:tx>
            <c:strRef>
              <c:f>Luottamusindikaattori!$H$6</c:f>
              <c:strCache>
                <c:ptCount val="1"/>
                <c:pt idx="0">
                  <c:v>Rakentaminen</c:v>
                </c:pt>
              </c:strCache>
            </c:strRef>
          </c:tx>
          <c:spPr>
            <a:ln w="22225" cap="rnd" cmpd="sng" algn="ctr">
              <a:solidFill>
                <a:schemeClr val="accent2"/>
              </a:solidFill>
              <a:round/>
            </a:ln>
            <a:effectLst/>
          </c:spPr>
          <c:marker>
            <c:symbol val="none"/>
          </c:marker>
          <c:cat>
            <c:strRef>
              <c:f>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Luottamusindikaattori!$H$127:$H$241</c:f>
              <c:numCache>
                <c:formatCode>General</c:formatCode>
                <c:ptCount val="115"/>
                <c:pt idx="0">
                  <c:v>-22</c:v>
                </c:pt>
                <c:pt idx="1">
                  <c:v>-23</c:v>
                </c:pt>
                <c:pt idx="2">
                  <c:v>-20</c:v>
                </c:pt>
                <c:pt idx="3">
                  <c:v>-15</c:v>
                </c:pt>
                <c:pt idx="4">
                  <c:v>-7</c:v>
                </c:pt>
                <c:pt idx="5">
                  <c:v>-14</c:v>
                </c:pt>
                <c:pt idx="6">
                  <c:v>1</c:v>
                </c:pt>
                <c:pt idx="7">
                  <c:v>-15</c:v>
                </c:pt>
                <c:pt idx="8">
                  <c:v>-11</c:v>
                </c:pt>
                <c:pt idx="9">
                  <c:v>-2</c:v>
                </c:pt>
                <c:pt idx="10">
                  <c:v>0</c:v>
                </c:pt>
                <c:pt idx="11">
                  <c:v>-5</c:v>
                </c:pt>
                <c:pt idx="12">
                  <c:v>-9</c:v>
                </c:pt>
                <c:pt idx="13">
                  <c:v>-9</c:v>
                </c:pt>
                <c:pt idx="14">
                  <c:v>-3</c:v>
                </c:pt>
                <c:pt idx="15">
                  <c:v>-4</c:v>
                </c:pt>
                <c:pt idx="16">
                  <c:v>-3</c:v>
                </c:pt>
                <c:pt idx="17">
                  <c:v>-4</c:v>
                </c:pt>
                <c:pt idx="18">
                  <c:v>-4</c:v>
                </c:pt>
                <c:pt idx="19">
                  <c:v>3</c:v>
                </c:pt>
                <c:pt idx="20">
                  <c:v>0</c:v>
                </c:pt>
                <c:pt idx="21">
                  <c:v>-6</c:v>
                </c:pt>
                <c:pt idx="22">
                  <c:v>-9</c:v>
                </c:pt>
                <c:pt idx="23">
                  <c:v>-3</c:v>
                </c:pt>
                <c:pt idx="24">
                  <c:v>1</c:v>
                </c:pt>
                <c:pt idx="25">
                  <c:v>2</c:v>
                </c:pt>
                <c:pt idx="26">
                  <c:v>-2</c:v>
                </c:pt>
                <c:pt idx="27">
                  <c:v>-1</c:v>
                </c:pt>
                <c:pt idx="28">
                  <c:v>-1</c:v>
                </c:pt>
                <c:pt idx="29">
                  <c:v>6</c:v>
                </c:pt>
                <c:pt idx="30">
                  <c:v>-1</c:v>
                </c:pt>
                <c:pt idx="31">
                  <c:v>-4</c:v>
                </c:pt>
                <c:pt idx="32">
                  <c:v>-8</c:v>
                </c:pt>
                <c:pt idx="33">
                  <c:v>5</c:v>
                </c:pt>
                <c:pt idx="34">
                  <c:v>7</c:v>
                </c:pt>
                <c:pt idx="35">
                  <c:v>9</c:v>
                </c:pt>
                <c:pt idx="36">
                  <c:v>-1</c:v>
                </c:pt>
                <c:pt idx="37">
                  <c:v>3</c:v>
                </c:pt>
                <c:pt idx="38">
                  <c:v>2</c:v>
                </c:pt>
                <c:pt idx="39">
                  <c:v>10</c:v>
                </c:pt>
                <c:pt idx="40">
                  <c:v>10</c:v>
                </c:pt>
                <c:pt idx="41">
                  <c:v>10</c:v>
                </c:pt>
                <c:pt idx="42">
                  <c:v>-1</c:v>
                </c:pt>
                <c:pt idx="43">
                  <c:v>13</c:v>
                </c:pt>
                <c:pt idx="44">
                  <c:v>7</c:v>
                </c:pt>
                <c:pt idx="45">
                  <c:v>1</c:v>
                </c:pt>
                <c:pt idx="46">
                  <c:v>12</c:v>
                </c:pt>
                <c:pt idx="47">
                  <c:v>14</c:v>
                </c:pt>
                <c:pt idx="48">
                  <c:v>15</c:v>
                </c:pt>
                <c:pt idx="49">
                  <c:v>7</c:v>
                </c:pt>
                <c:pt idx="50">
                  <c:v>9</c:v>
                </c:pt>
                <c:pt idx="51">
                  <c:v>5</c:v>
                </c:pt>
                <c:pt idx="52">
                  <c:v>9</c:v>
                </c:pt>
                <c:pt idx="53">
                  <c:v>3</c:v>
                </c:pt>
                <c:pt idx="54">
                  <c:v>2</c:v>
                </c:pt>
                <c:pt idx="55">
                  <c:v>3</c:v>
                </c:pt>
                <c:pt idx="56">
                  <c:v>6</c:v>
                </c:pt>
                <c:pt idx="57">
                  <c:v>4</c:v>
                </c:pt>
                <c:pt idx="58">
                  <c:v>1</c:v>
                </c:pt>
                <c:pt idx="59">
                  <c:v>1</c:v>
                </c:pt>
                <c:pt idx="60">
                  <c:v>0</c:v>
                </c:pt>
                <c:pt idx="61">
                  <c:v>1</c:v>
                </c:pt>
                <c:pt idx="62">
                  <c:v>-2</c:v>
                </c:pt>
                <c:pt idx="63">
                  <c:v>-27</c:v>
                </c:pt>
                <c:pt idx="64">
                  <c:v>-22</c:v>
                </c:pt>
                <c:pt idx="65">
                  <c:v>-24</c:v>
                </c:pt>
                <c:pt idx="66">
                  <c:v>-14</c:v>
                </c:pt>
                <c:pt idx="67">
                  <c:v>-15</c:v>
                </c:pt>
                <c:pt idx="68">
                  <c:v>-16</c:v>
                </c:pt>
                <c:pt idx="69">
                  <c:v>-18</c:v>
                </c:pt>
                <c:pt idx="70">
                  <c:v>-18</c:v>
                </c:pt>
                <c:pt idx="71">
                  <c:v>-18</c:v>
                </c:pt>
                <c:pt idx="72">
                  <c:v>-19</c:v>
                </c:pt>
                <c:pt idx="73">
                  <c:v>-24</c:v>
                </c:pt>
                <c:pt idx="74">
                  <c:v>-15</c:v>
                </c:pt>
                <c:pt idx="75">
                  <c:v>-9</c:v>
                </c:pt>
                <c:pt idx="76">
                  <c:v>-10</c:v>
                </c:pt>
                <c:pt idx="77">
                  <c:v>-6</c:v>
                </c:pt>
                <c:pt idx="78">
                  <c:v>-1</c:v>
                </c:pt>
                <c:pt idx="79">
                  <c:v>6</c:v>
                </c:pt>
                <c:pt idx="80">
                  <c:v>7</c:v>
                </c:pt>
                <c:pt idx="81">
                  <c:v>9</c:v>
                </c:pt>
                <c:pt idx="82">
                  <c:v>12</c:v>
                </c:pt>
                <c:pt idx="83">
                  <c:v>13</c:v>
                </c:pt>
                <c:pt idx="84">
                  <c:v>9</c:v>
                </c:pt>
                <c:pt idx="85">
                  <c:v>10</c:v>
                </c:pt>
                <c:pt idx="86">
                  <c:v>3</c:v>
                </c:pt>
                <c:pt idx="87">
                  <c:v>-4</c:v>
                </c:pt>
                <c:pt idx="88">
                  <c:v>-14</c:v>
                </c:pt>
                <c:pt idx="89">
                  <c:v>-17</c:v>
                </c:pt>
                <c:pt idx="90">
                  <c:v>-20</c:v>
                </c:pt>
                <c:pt idx="91">
                  <c:v>-16</c:v>
                </c:pt>
                <c:pt idx="92">
                  <c:v>-6</c:v>
                </c:pt>
                <c:pt idx="93">
                  <c:v>-9</c:v>
                </c:pt>
                <c:pt idx="94">
                  <c:v>-13</c:v>
                </c:pt>
                <c:pt idx="95">
                  <c:v>-15</c:v>
                </c:pt>
                <c:pt idx="96">
                  <c:v>-24</c:v>
                </c:pt>
                <c:pt idx="97">
                  <c:v>-21</c:v>
                </c:pt>
                <c:pt idx="98">
                  <c:v>-18</c:v>
                </c:pt>
                <c:pt idx="99">
                  <c:v>-28</c:v>
                </c:pt>
                <c:pt idx="100">
                  <c:v>-9</c:v>
                </c:pt>
                <c:pt idx="101">
                  <c:v>-26</c:v>
                </c:pt>
                <c:pt idx="102">
                  <c:v>-34</c:v>
                </c:pt>
                <c:pt idx="103">
                  <c:v>-32</c:v>
                </c:pt>
                <c:pt idx="104">
                  <c:v>-36</c:v>
                </c:pt>
                <c:pt idx="105">
                  <c:v>-41</c:v>
                </c:pt>
                <c:pt idx="106">
                  <c:v>-43</c:v>
                </c:pt>
                <c:pt idx="107">
                  <c:v>-36</c:v>
                </c:pt>
                <c:pt idx="108">
                  <c:v>-40</c:v>
                </c:pt>
                <c:pt idx="109">
                  <c:v>-42</c:v>
                </c:pt>
                <c:pt idx="110">
                  <c:v>-40</c:v>
                </c:pt>
                <c:pt idx="111">
                  <c:v>-37</c:v>
                </c:pt>
                <c:pt idx="112">
                  <c:v>-39</c:v>
                </c:pt>
                <c:pt idx="113">
                  <c:v>-36</c:v>
                </c:pt>
                <c:pt idx="114">
                  <c:v>-34</c:v>
                </c:pt>
              </c:numCache>
            </c:numRef>
          </c:val>
          <c:smooth val="0"/>
          <c:extLst>
            <c:ext xmlns:c16="http://schemas.microsoft.com/office/drawing/2014/chart" uri="{C3380CC4-5D6E-409C-BE32-E72D297353CC}">
              <c16:uniqueId val="{00000001-0C0A-40E5-8F9A-9677C588C8DC}"/>
            </c:ext>
          </c:extLst>
        </c:ser>
        <c:ser>
          <c:idx val="2"/>
          <c:order val="2"/>
          <c:tx>
            <c:strRef>
              <c:f>Luottamusindikaattori!$I$6</c:f>
              <c:strCache>
                <c:ptCount val="1"/>
                <c:pt idx="0">
                  <c:v>Palvelut</c:v>
                </c:pt>
              </c:strCache>
            </c:strRef>
          </c:tx>
          <c:spPr>
            <a:ln w="22225" cap="rnd" cmpd="sng" algn="ctr">
              <a:solidFill>
                <a:schemeClr val="accent3"/>
              </a:solidFill>
              <a:round/>
            </a:ln>
            <a:effectLst/>
          </c:spPr>
          <c:marker>
            <c:symbol val="none"/>
          </c:marker>
          <c:cat>
            <c:strRef>
              <c:f>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Luottamusindikaattori!$I$127:$I$241</c:f>
              <c:numCache>
                <c:formatCode>General</c:formatCode>
                <c:ptCount val="115"/>
                <c:pt idx="0">
                  <c:v>-6</c:v>
                </c:pt>
                <c:pt idx="1">
                  <c:v>1</c:v>
                </c:pt>
                <c:pt idx="2">
                  <c:v>3</c:v>
                </c:pt>
                <c:pt idx="3">
                  <c:v>4</c:v>
                </c:pt>
                <c:pt idx="4">
                  <c:v>2</c:v>
                </c:pt>
                <c:pt idx="5">
                  <c:v>2</c:v>
                </c:pt>
                <c:pt idx="6">
                  <c:v>3</c:v>
                </c:pt>
                <c:pt idx="7">
                  <c:v>4</c:v>
                </c:pt>
                <c:pt idx="8">
                  <c:v>4</c:v>
                </c:pt>
                <c:pt idx="9">
                  <c:v>7</c:v>
                </c:pt>
                <c:pt idx="10">
                  <c:v>12</c:v>
                </c:pt>
                <c:pt idx="11">
                  <c:v>9</c:v>
                </c:pt>
                <c:pt idx="12">
                  <c:v>12</c:v>
                </c:pt>
                <c:pt idx="13">
                  <c:v>9</c:v>
                </c:pt>
                <c:pt idx="14">
                  <c:v>8</c:v>
                </c:pt>
                <c:pt idx="15">
                  <c:v>10</c:v>
                </c:pt>
                <c:pt idx="16">
                  <c:v>12</c:v>
                </c:pt>
                <c:pt idx="17">
                  <c:v>12</c:v>
                </c:pt>
                <c:pt idx="18">
                  <c:v>17</c:v>
                </c:pt>
                <c:pt idx="19">
                  <c:v>14</c:v>
                </c:pt>
                <c:pt idx="20">
                  <c:v>13</c:v>
                </c:pt>
                <c:pt idx="21">
                  <c:v>15</c:v>
                </c:pt>
                <c:pt idx="22">
                  <c:v>13</c:v>
                </c:pt>
                <c:pt idx="23">
                  <c:v>17</c:v>
                </c:pt>
                <c:pt idx="24">
                  <c:v>17</c:v>
                </c:pt>
                <c:pt idx="25">
                  <c:v>18</c:v>
                </c:pt>
                <c:pt idx="26">
                  <c:v>19</c:v>
                </c:pt>
                <c:pt idx="27">
                  <c:v>23</c:v>
                </c:pt>
                <c:pt idx="28">
                  <c:v>23</c:v>
                </c:pt>
                <c:pt idx="29">
                  <c:v>26</c:v>
                </c:pt>
                <c:pt idx="30">
                  <c:v>23</c:v>
                </c:pt>
                <c:pt idx="31">
                  <c:v>24</c:v>
                </c:pt>
                <c:pt idx="32">
                  <c:v>23</c:v>
                </c:pt>
                <c:pt idx="33">
                  <c:v>26</c:v>
                </c:pt>
                <c:pt idx="34">
                  <c:v>24</c:v>
                </c:pt>
                <c:pt idx="35">
                  <c:v>21</c:v>
                </c:pt>
                <c:pt idx="36">
                  <c:v>23</c:v>
                </c:pt>
                <c:pt idx="37">
                  <c:v>27</c:v>
                </c:pt>
                <c:pt idx="38">
                  <c:v>29</c:v>
                </c:pt>
                <c:pt idx="39">
                  <c:v>23</c:v>
                </c:pt>
                <c:pt idx="40">
                  <c:v>23</c:v>
                </c:pt>
                <c:pt idx="41">
                  <c:v>15</c:v>
                </c:pt>
                <c:pt idx="42">
                  <c:v>17</c:v>
                </c:pt>
                <c:pt idx="43">
                  <c:v>17</c:v>
                </c:pt>
                <c:pt idx="44">
                  <c:v>20</c:v>
                </c:pt>
                <c:pt idx="45">
                  <c:v>15</c:v>
                </c:pt>
                <c:pt idx="46">
                  <c:v>15</c:v>
                </c:pt>
                <c:pt idx="47">
                  <c:v>13</c:v>
                </c:pt>
                <c:pt idx="48">
                  <c:v>14</c:v>
                </c:pt>
                <c:pt idx="49">
                  <c:v>19</c:v>
                </c:pt>
                <c:pt idx="50">
                  <c:v>13</c:v>
                </c:pt>
                <c:pt idx="51">
                  <c:v>13</c:v>
                </c:pt>
                <c:pt idx="52">
                  <c:v>13</c:v>
                </c:pt>
                <c:pt idx="53">
                  <c:v>19</c:v>
                </c:pt>
                <c:pt idx="54">
                  <c:v>11</c:v>
                </c:pt>
                <c:pt idx="55">
                  <c:v>10</c:v>
                </c:pt>
                <c:pt idx="56">
                  <c:v>9</c:v>
                </c:pt>
                <c:pt idx="57">
                  <c:v>10</c:v>
                </c:pt>
                <c:pt idx="58">
                  <c:v>8</c:v>
                </c:pt>
                <c:pt idx="59">
                  <c:v>11</c:v>
                </c:pt>
                <c:pt idx="60">
                  <c:v>9</c:v>
                </c:pt>
                <c:pt idx="61">
                  <c:v>7</c:v>
                </c:pt>
                <c:pt idx="62">
                  <c:v>-3</c:v>
                </c:pt>
                <c:pt idx="63">
                  <c:v>-47</c:v>
                </c:pt>
                <c:pt idx="64">
                  <c:v>-45</c:v>
                </c:pt>
                <c:pt idx="65">
                  <c:v>-42</c:v>
                </c:pt>
                <c:pt idx="66">
                  <c:v>-18</c:v>
                </c:pt>
                <c:pt idx="67">
                  <c:v>-11</c:v>
                </c:pt>
                <c:pt idx="68">
                  <c:v>-12</c:v>
                </c:pt>
                <c:pt idx="69">
                  <c:v>-10</c:v>
                </c:pt>
                <c:pt idx="70">
                  <c:v>-11</c:v>
                </c:pt>
                <c:pt idx="71">
                  <c:v>-10</c:v>
                </c:pt>
                <c:pt idx="72">
                  <c:v>-3</c:v>
                </c:pt>
                <c:pt idx="73">
                  <c:v>-3</c:v>
                </c:pt>
                <c:pt idx="74">
                  <c:v>-4</c:v>
                </c:pt>
                <c:pt idx="75">
                  <c:v>4</c:v>
                </c:pt>
                <c:pt idx="76">
                  <c:v>12</c:v>
                </c:pt>
                <c:pt idx="77">
                  <c:v>13</c:v>
                </c:pt>
                <c:pt idx="78">
                  <c:v>21</c:v>
                </c:pt>
                <c:pt idx="79">
                  <c:v>15</c:v>
                </c:pt>
                <c:pt idx="80">
                  <c:v>17</c:v>
                </c:pt>
                <c:pt idx="81">
                  <c:v>20</c:v>
                </c:pt>
                <c:pt idx="82">
                  <c:v>18</c:v>
                </c:pt>
                <c:pt idx="83">
                  <c:v>19</c:v>
                </c:pt>
                <c:pt idx="84">
                  <c:v>16</c:v>
                </c:pt>
                <c:pt idx="85">
                  <c:v>18</c:v>
                </c:pt>
                <c:pt idx="86">
                  <c:v>14</c:v>
                </c:pt>
                <c:pt idx="87">
                  <c:v>10</c:v>
                </c:pt>
                <c:pt idx="88">
                  <c:v>8</c:v>
                </c:pt>
                <c:pt idx="89">
                  <c:v>9</c:v>
                </c:pt>
                <c:pt idx="90">
                  <c:v>9</c:v>
                </c:pt>
                <c:pt idx="91">
                  <c:v>2</c:v>
                </c:pt>
                <c:pt idx="92">
                  <c:v>1</c:v>
                </c:pt>
                <c:pt idx="93">
                  <c:v>5</c:v>
                </c:pt>
                <c:pt idx="94">
                  <c:v>0</c:v>
                </c:pt>
                <c:pt idx="95">
                  <c:v>4</c:v>
                </c:pt>
                <c:pt idx="96">
                  <c:v>0</c:v>
                </c:pt>
                <c:pt idx="97">
                  <c:v>2</c:v>
                </c:pt>
                <c:pt idx="98">
                  <c:v>5</c:v>
                </c:pt>
                <c:pt idx="99">
                  <c:v>4</c:v>
                </c:pt>
                <c:pt idx="100">
                  <c:v>0</c:v>
                </c:pt>
                <c:pt idx="101">
                  <c:v>0</c:v>
                </c:pt>
                <c:pt idx="102">
                  <c:v>1</c:v>
                </c:pt>
                <c:pt idx="103">
                  <c:v>0</c:v>
                </c:pt>
                <c:pt idx="104">
                  <c:v>-5</c:v>
                </c:pt>
                <c:pt idx="105">
                  <c:v>-7</c:v>
                </c:pt>
                <c:pt idx="106">
                  <c:v>-5</c:v>
                </c:pt>
                <c:pt idx="107">
                  <c:v>0</c:v>
                </c:pt>
                <c:pt idx="108">
                  <c:v>1</c:v>
                </c:pt>
                <c:pt idx="109">
                  <c:v>-4</c:v>
                </c:pt>
                <c:pt idx="110">
                  <c:v>-4</c:v>
                </c:pt>
                <c:pt idx="111">
                  <c:v>-5</c:v>
                </c:pt>
                <c:pt idx="112">
                  <c:v>-6</c:v>
                </c:pt>
                <c:pt idx="113">
                  <c:v>0</c:v>
                </c:pt>
                <c:pt idx="114">
                  <c:v>1</c:v>
                </c:pt>
              </c:numCache>
            </c:numRef>
          </c:val>
          <c:smooth val="0"/>
          <c:extLst>
            <c:ext xmlns:c16="http://schemas.microsoft.com/office/drawing/2014/chart" uri="{C3380CC4-5D6E-409C-BE32-E72D297353CC}">
              <c16:uniqueId val="{00000002-0C0A-40E5-8F9A-9677C588C8DC}"/>
            </c:ext>
          </c:extLst>
        </c:ser>
        <c:ser>
          <c:idx val="3"/>
          <c:order val="3"/>
          <c:tx>
            <c:strRef>
              <c:f>Luottamusindikaattori!$J$6</c:f>
              <c:strCache>
                <c:ptCount val="1"/>
                <c:pt idx="0">
                  <c:v>Vähittäiskauppa</c:v>
                </c:pt>
              </c:strCache>
            </c:strRef>
          </c:tx>
          <c:spPr>
            <a:ln w="22225" cap="rnd" cmpd="sng" algn="ctr">
              <a:solidFill>
                <a:schemeClr val="accent4"/>
              </a:solidFill>
              <a:round/>
            </a:ln>
            <a:effectLst/>
          </c:spPr>
          <c:marker>
            <c:symbol val="none"/>
          </c:marker>
          <c:cat>
            <c:strRef>
              <c:f>Luottamusindikaattori!$F$127:$F$241</c:f>
              <c:strCache>
                <c:ptCount val="115"/>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pt idx="96">
                  <c:v>2023M01</c:v>
                </c:pt>
                <c:pt idx="97">
                  <c:v>2023M02</c:v>
                </c:pt>
                <c:pt idx="98">
                  <c:v>2023M03</c:v>
                </c:pt>
                <c:pt idx="99">
                  <c:v>2023M04</c:v>
                </c:pt>
                <c:pt idx="100">
                  <c:v>2023M05</c:v>
                </c:pt>
                <c:pt idx="101">
                  <c:v>2023M06</c:v>
                </c:pt>
                <c:pt idx="102">
                  <c:v>2023M07</c:v>
                </c:pt>
                <c:pt idx="103">
                  <c:v>2023M08</c:v>
                </c:pt>
                <c:pt idx="104">
                  <c:v>2023M09</c:v>
                </c:pt>
                <c:pt idx="105">
                  <c:v>2023M10</c:v>
                </c:pt>
                <c:pt idx="106">
                  <c:v>2023M11</c:v>
                </c:pt>
                <c:pt idx="107">
                  <c:v>2023M12</c:v>
                </c:pt>
                <c:pt idx="108">
                  <c:v>2024M01</c:v>
                </c:pt>
                <c:pt idx="109">
                  <c:v>2024M02</c:v>
                </c:pt>
                <c:pt idx="110">
                  <c:v>2024M03</c:v>
                </c:pt>
                <c:pt idx="111">
                  <c:v>2024M04</c:v>
                </c:pt>
                <c:pt idx="112">
                  <c:v>2024M05</c:v>
                </c:pt>
                <c:pt idx="113">
                  <c:v>2024M06</c:v>
                </c:pt>
                <c:pt idx="114">
                  <c:v>2024M07</c:v>
                </c:pt>
              </c:strCache>
            </c:strRef>
          </c:cat>
          <c:val>
            <c:numRef>
              <c:f>Luottamusindikaattori!$J$127:$J$241</c:f>
              <c:numCache>
                <c:formatCode>General</c:formatCode>
                <c:ptCount val="115"/>
                <c:pt idx="0">
                  <c:v>-20</c:v>
                </c:pt>
                <c:pt idx="1">
                  <c:v>-23</c:v>
                </c:pt>
                <c:pt idx="2">
                  <c:v>-23</c:v>
                </c:pt>
                <c:pt idx="3">
                  <c:v>-19</c:v>
                </c:pt>
                <c:pt idx="4">
                  <c:v>-12</c:v>
                </c:pt>
                <c:pt idx="5">
                  <c:v>-21</c:v>
                </c:pt>
                <c:pt idx="6">
                  <c:v>-13</c:v>
                </c:pt>
                <c:pt idx="7">
                  <c:v>-17</c:v>
                </c:pt>
                <c:pt idx="8">
                  <c:v>-15</c:v>
                </c:pt>
                <c:pt idx="9">
                  <c:v>0</c:v>
                </c:pt>
                <c:pt idx="10">
                  <c:v>-14</c:v>
                </c:pt>
                <c:pt idx="11">
                  <c:v>-9</c:v>
                </c:pt>
                <c:pt idx="12">
                  <c:v>-2</c:v>
                </c:pt>
                <c:pt idx="13">
                  <c:v>-10</c:v>
                </c:pt>
                <c:pt idx="14">
                  <c:v>-7</c:v>
                </c:pt>
                <c:pt idx="15">
                  <c:v>-5</c:v>
                </c:pt>
                <c:pt idx="16">
                  <c:v>-2</c:v>
                </c:pt>
                <c:pt idx="17">
                  <c:v>1</c:v>
                </c:pt>
                <c:pt idx="18">
                  <c:v>3</c:v>
                </c:pt>
                <c:pt idx="19">
                  <c:v>-4</c:v>
                </c:pt>
                <c:pt idx="20">
                  <c:v>-5</c:v>
                </c:pt>
                <c:pt idx="21">
                  <c:v>0</c:v>
                </c:pt>
                <c:pt idx="22">
                  <c:v>-8</c:v>
                </c:pt>
                <c:pt idx="23">
                  <c:v>-2</c:v>
                </c:pt>
                <c:pt idx="24">
                  <c:v>2</c:v>
                </c:pt>
                <c:pt idx="25">
                  <c:v>1</c:v>
                </c:pt>
                <c:pt idx="26">
                  <c:v>9</c:v>
                </c:pt>
                <c:pt idx="27">
                  <c:v>7</c:v>
                </c:pt>
                <c:pt idx="28">
                  <c:v>4</c:v>
                </c:pt>
                <c:pt idx="29">
                  <c:v>10</c:v>
                </c:pt>
                <c:pt idx="30">
                  <c:v>16</c:v>
                </c:pt>
                <c:pt idx="31">
                  <c:v>19</c:v>
                </c:pt>
                <c:pt idx="32">
                  <c:v>16</c:v>
                </c:pt>
                <c:pt idx="33">
                  <c:v>8</c:v>
                </c:pt>
                <c:pt idx="34">
                  <c:v>18</c:v>
                </c:pt>
                <c:pt idx="35">
                  <c:v>11</c:v>
                </c:pt>
                <c:pt idx="36">
                  <c:v>15</c:v>
                </c:pt>
                <c:pt idx="37">
                  <c:v>23</c:v>
                </c:pt>
                <c:pt idx="38">
                  <c:v>11</c:v>
                </c:pt>
                <c:pt idx="39">
                  <c:v>6</c:v>
                </c:pt>
                <c:pt idx="40">
                  <c:v>18</c:v>
                </c:pt>
                <c:pt idx="41">
                  <c:v>15</c:v>
                </c:pt>
                <c:pt idx="42">
                  <c:v>17</c:v>
                </c:pt>
                <c:pt idx="43">
                  <c:v>12</c:v>
                </c:pt>
                <c:pt idx="44">
                  <c:v>11</c:v>
                </c:pt>
                <c:pt idx="45">
                  <c:v>10</c:v>
                </c:pt>
                <c:pt idx="46">
                  <c:v>4</c:v>
                </c:pt>
                <c:pt idx="47">
                  <c:v>3</c:v>
                </c:pt>
                <c:pt idx="48">
                  <c:v>8</c:v>
                </c:pt>
                <c:pt idx="49">
                  <c:v>4</c:v>
                </c:pt>
                <c:pt idx="50">
                  <c:v>3</c:v>
                </c:pt>
                <c:pt idx="51">
                  <c:v>3</c:v>
                </c:pt>
                <c:pt idx="52">
                  <c:v>3</c:v>
                </c:pt>
                <c:pt idx="53">
                  <c:v>7</c:v>
                </c:pt>
                <c:pt idx="54">
                  <c:v>11</c:v>
                </c:pt>
                <c:pt idx="55">
                  <c:v>5</c:v>
                </c:pt>
                <c:pt idx="56">
                  <c:v>12</c:v>
                </c:pt>
                <c:pt idx="57">
                  <c:v>6</c:v>
                </c:pt>
                <c:pt idx="58">
                  <c:v>6</c:v>
                </c:pt>
                <c:pt idx="59">
                  <c:v>7</c:v>
                </c:pt>
                <c:pt idx="60">
                  <c:v>-3</c:v>
                </c:pt>
                <c:pt idx="61">
                  <c:v>-8</c:v>
                </c:pt>
                <c:pt idx="62">
                  <c:v>-15</c:v>
                </c:pt>
                <c:pt idx="63">
                  <c:v>-37</c:v>
                </c:pt>
                <c:pt idx="64">
                  <c:v>-15</c:v>
                </c:pt>
                <c:pt idx="65">
                  <c:v>-12</c:v>
                </c:pt>
                <c:pt idx="66">
                  <c:v>-4</c:v>
                </c:pt>
                <c:pt idx="67">
                  <c:v>2</c:v>
                </c:pt>
                <c:pt idx="68">
                  <c:v>-4</c:v>
                </c:pt>
                <c:pt idx="69">
                  <c:v>-6</c:v>
                </c:pt>
                <c:pt idx="70">
                  <c:v>-2</c:v>
                </c:pt>
                <c:pt idx="71">
                  <c:v>0</c:v>
                </c:pt>
                <c:pt idx="72">
                  <c:v>2</c:v>
                </c:pt>
                <c:pt idx="73">
                  <c:v>0</c:v>
                </c:pt>
                <c:pt idx="74">
                  <c:v>-2</c:v>
                </c:pt>
                <c:pt idx="75">
                  <c:v>4</c:v>
                </c:pt>
                <c:pt idx="76">
                  <c:v>12</c:v>
                </c:pt>
                <c:pt idx="77">
                  <c:v>20</c:v>
                </c:pt>
                <c:pt idx="78">
                  <c:v>13</c:v>
                </c:pt>
                <c:pt idx="79">
                  <c:v>17</c:v>
                </c:pt>
                <c:pt idx="80">
                  <c:v>13</c:v>
                </c:pt>
                <c:pt idx="81">
                  <c:v>14</c:v>
                </c:pt>
                <c:pt idx="82">
                  <c:v>16</c:v>
                </c:pt>
                <c:pt idx="83">
                  <c:v>9</c:v>
                </c:pt>
                <c:pt idx="84">
                  <c:v>8</c:v>
                </c:pt>
                <c:pt idx="85">
                  <c:v>2</c:v>
                </c:pt>
                <c:pt idx="86">
                  <c:v>-6</c:v>
                </c:pt>
                <c:pt idx="87">
                  <c:v>0</c:v>
                </c:pt>
                <c:pt idx="88">
                  <c:v>-1</c:v>
                </c:pt>
                <c:pt idx="89">
                  <c:v>-3</c:v>
                </c:pt>
                <c:pt idx="90">
                  <c:v>-3</c:v>
                </c:pt>
                <c:pt idx="91">
                  <c:v>-20</c:v>
                </c:pt>
                <c:pt idx="92">
                  <c:v>-20</c:v>
                </c:pt>
                <c:pt idx="93">
                  <c:v>-16</c:v>
                </c:pt>
                <c:pt idx="94">
                  <c:v>-12</c:v>
                </c:pt>
                <c:pt idx="95">
                  <c:v>-22</c:v>
                </c:pt>
                <c:pt idx="96">
                  <c:v>-13</c:v>
                </c:pt>
                <c:pt idx="97">
                  <c:v>-12</c:v>
                </c:pt>
                <c:pt idx="98">
                  <c:v>-9</c:v>
                </c:pt>
                <c:pt idx="99">
                  <c:v>-6</c:v>
                </c:pt>
                <c:pt idx="100">
                  <c:v>-8</c:v>
                </c:pt>
                <c:pt idx="101">
                  <c:v>-10</c:v>
                </c:pt>
                <c:pt idx="102">
                  <c:v>-14</c:v>
                </c:pt>
                <c:pt idx="103">
                  <c:v>-13</c:v>
                </c:pt>
                <c:pt idx="104">
                  <c:v>-13</c:v>
                </c:pt>
                <c:pt idx="105">
                  <c:v>-11</c:v>
                </c:pt>
                <c:pt idx="106">
                  <c:v>-16</c:v>
                </c:pt>
                <c:pt idx="107">
                  <c:v>-15</c:v>
                </c:pt>
                <c:pt idx="108">
                  <c:v>-7</c:v>
                </c:pt>
                <c:pt idx="109">
                  <c:v>-12</c:v>
                </c:pt>
                <c:pt idx="110">
                  <c:v>-12</c:v>
                </c:pt>
                <c:pt idx="111">
                  <c:v>-16</c:v>
                </c:pt>
                <c:pt idx="112">
                  <c:v>-19</c:v>
                </c:pt>
                <c:pt idx="113">
                  <c:v>-9</c:v>
                </c:pt>
                <c:pt idx="114">
                  <c:v>-12</c:v>
                </c:pt>
              </c:numCache>
            </c:numRef>
          </c:val>
          <c:smooth val="0"/>
          <c:extLst>
            <c:ext xmlns:c16="http://schemas.microsoft.com/office/drawing/2014/chart" uri="{C3380CC4-5D6E-409C-BE32-E72D297353CC}">
              <c16:uniqueId val="{00000003-0C0A-40E5-8F9A-9677C588C8DC}"/>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865125312"/>
        <c:axId val="865124984"/>
      </c:lineChart>
      <c:catAx>
        <c:axId val="865125312"/>
        <c:scaling>
          <c:orientation val="minMax"/>
        </c:scaling>
        <c:delete val="0"/>
        <c:axPos val="b"/>
        <c:numFmt formatCode="General" sourceLinked="1"/>
        <c:majorTickMark val="none"/>
        <c:minorTickMark val="none"/>
        <c:tickLblPos val="low"/>
        <c:spPr>
          <a:noFill/>
          <a:ln w="9525" cap="flat" cmpd="sng" algn="ctr">
            <a:solidFill>
              <a:schemeClr val="dk1">
                <a:lumMod val="15000"/>
                <a:lumOff val="85000"/>
              </a:schemeClr>
            </a:solidFill>
            <a:round/>
          </a:ln>
          <a:effectLst/>
        </c:spPr>
        <c:txPr>
          <a:bodyPr rot="-5400000" spcFirstLastPara="1" vertOverflow="ellipsis" wrap="square" anchor="ctr" anchorCtr="1"/>
          <a:lstStyle/>
          <a:p>
            <a:pPr>
              <a:defRPr sz="600" b="0" i="0" u="none" strike="noStrike" kern="1200" spc="20" baseline="0">
                <a:solidFill>
                  <a:schemeClr val="tx1"/>
                </a:solidFill>
                <a:latin typeface="+mn-lt"/>
                <a:ea typeface="+mn-ea"/>
                <a:cs typeface="+mn-cs"/>
              </a:defRPr>
            </a:pPr>
            <a:endParaRPr lang="fi-FI"/>
          </a:p>
        </c:txPr>
        <c:crossAx val="865124984"/>
        <c:crosses val="autoZero"/>
        <c:auto val="1"/>
        <c:lblAlgn val="ctr"/>
        <c:lblOffset val="100"/>
        <c:tickLblSkip val="12"/>
        <c:noMultiLvlLbl val="0"/>
      </c:catAx>
      <c:valAx>
        <c:axId val="865124984"/>
        <c:scaling>
          <c:orientation val="minMax"/>
        </c:scaling>
        <c:delete val="0"/>
        <c:axPos val="l"/>
        <c:majorGridlines>
          <c:spPr>
            <a:ln>
              <a:solidFill>
                <a:schemeClr val="dk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spc="20" baseline="0">
                <a:solidFill>
                  <a:schemeClr val="tx1"/>
                </a:solidFill>
                <a:latin typeface="+mn-lt"/>
                <a:ea typeface="+mn-ea"/>
                <a:cs typeface="+mn-cs"/>
              </a:defRPr>
            </a:pPr>
            <a:endParaRPr lang="fi-FI"/>
          </a:p>
        </c:txPr>
        <c:crossAx val="865125312"/>
        <c:crosses val="autoZero"/>
        <c:crossBetween val="between"/>
      </c:valAx>
      <c:spPr>
        <a:gradFill>
          <a:gsLst>
            <a:gs pos="100000">
              <a:schemeClr val="lt1">
                <a:lumMod val="95000"/>
              </a:schemeClr>
            </a:gs>
            <a:gs pos="0">
              <a:schemeClr val="lt1"/>
            </a:gs>
          </a:gsLst>
          <a:lin ang="5400000" scaled="0"/>
        </a:gradFill>
        <a:ln>
          <a:noFill/>
        </a:ln>
        <a:effectLst/>
      </c:spPr>
    </c:plotArea>
    <c:legend>
      <c:legendPos val="t"/>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a:noFill/>
    </a:ln>
    <a:effectLst/>
  </c:spPr>
  <c:txPr>
    <a:bodyPr/>
    <a:lstStyle/>
    <a:p>
      <a:pPr>
        <a:defRPr sz="600">
          <a:solidFill>
            <a:schemeClr val="tx1"/>
          </a:solidFill>
        </a:defRPr>
      </a:pPr>
      <a:endParaRPr lang="fi-FI"/>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ysClr val="windowText" lastClr="000000"/>
                </a:solidFill>
                <a:latin typeface="Verdana" panose="020B0604030504040204" pitchFamily="34" charset="0"/>
                <a:ea typeface="Verdana" panose="020B0604030504040204" pitchFamily="34" charset="0"/>
                <a:cs typeface="+mn-cs"/>
              </a:defRPr>
            </a:pPr>
            <a:r>
              <a:rPr lang="fi-FI" sz="800">
                <a:solidFill>
                  <a:sysClr val="windowText" lastClr="000000"/>
                </a:solidFill>
                <a:latin typeface="Verdana" panose="020B0604030504040204" pitchFamily="34" charset="0"/>
                <a:ea typeface="Verdana" panose="020B0604030504040204" pitchFamily="34" charset="0"/>
              </a:rPr>
              <a:t>Elinkeinoelämän tuotantoka­peikot</a:t>
            </a:r>
          </a:p>
          <a:p>
            <a:pPr>
              <a:defRPr sz="800">
                <a:solidFill>
                  <a:sysClr val="windowText" lastClr="000000"/>
                </a:solidFill>
              </a:defRPr>
            </a:pPr>
            <a:r>
              <a:rPr lang="fi-FI" sz="800">
                <a:solidFill>
                  <a:sysClr val="windowText" lastClr="000000"/>
                </a:solidFill>
                <a:latin typeface="Verdana" panose="020B0604030504040204" pitchFamily="34" charset="0"/>
                <a:ea typeface="Verdana" panose="020B0604030504040204" pitchFamily="34" charset="0"/>
              </a:rPr>
              <a:t>Teollisuus, rakentaminen ja palvelut, osuus vastanneista (%)</a:t>
            </a:r>
          </a:p>
        </c:rich>
      </c:tx>
      <c:overlay val="0"/>
      <c:spPr>
        <a:noFill/>
        <a:ln>
          <a:noFill/>
        </a:ln>
        <a:effectLst/>
      </c:spPr>
      <c:txPr>
        <a:bodyPr rot="0" spcFirstLastPara="1" vertOverflow="ellipsis" vert="horz" wrap="square" anchor="ctr" anchorCtr="1"/>
        <a:lstStyle/>
        <a:p>
          <a:pPr>
            <a:defRPr sz="800" b="0" i="0" u="none" strike="noStrike" kern="1200" spc="0" baseline="0">
              <a:solidFill>
                <a:sysClr val="windowText" lastClr="000000"/>
              </a:solidFill>
              <a:latin typeface="Verdana" panose="020B0604030504040204" pitchFamily="34" charset="0"/>
              <a:ea typeface="Verdana" panose="020B0604030504040204" pitchFamily="34" charset="0"/>
              <a:cs typeface="+mn-cs"/>
            </a:defRPr>
          </a:pPr>
          <a:endParaRPr lang="fi-FI"/>
        </a:p>
      </c:txPr>
    </c:title>
    <c:autoTitleDeleted val="0"/>
    <c:plotArea>
      <c:layout>
        <c:manualLayout>
          <c:layoutTarget val="inner"/>
          <c:xMode val="edge"/>
          <c:yMode val="edge"/>
          <c:x val="5.6224006130381844E-2"/>
          <c:y val="0.25895368659977641"/>
          <c:w val="0.9437761037026049"/>
          <c:h val="0.56187943050959333"/>
        </c:manualLayout>
      </c:layout>
      <c:lineChart>
        <c:grouping val="standard"/>
        <c:varyColors val="0"/>
        <c:ser>
          <c:idx val="0"/>
          <c:order val="0"/>
          <c:tx>
            <c:strRef>
              <c:f>'EK suhdannebarometri 7-2024'!$B$1</c:f>
              <c:strCache>
                <c:ptCount val="1"/>
                <c:pt idx="0">
                  <c:v>Ammattityövoiman puute</c:v>
                </c:pt>
              </c:strCache>
            </c:strRef>
          </c:tx>
          <c:spPr>
            <a:ln w="28575" cap="rnd">
              <a:solidFill>
                <a:schemeClr val="accent1"/>
              </a:solidFill>
              <a:round/>
            </a:ln>
            <a:effectLst/>
          </c:spPr>
          <c:marker>
            <c:symbol val="none"/>
          </c:marker>
          <c:cat>
            <c:strRef>
              <c:f>'EK suhdannebarometri 7-2024'!$A$60:$A$78</c:f>
              <c:strCache>
                <c:ptCount val="19"/>
                <c:pt idx="0">
                  <c:v>2020M01</c:v>
                </c:pt>
                <c:pt idx="1">
                  <c:v>2020M04</c:v>
                </c:pt>
                <c:pt idx="2">
                  <c:v>2020M07</c:v>
                </c:pt>
                <c:pt idx="3">
                  <c:v>2020M10</c:v>
                </c:pt>
                <c:pt idx="4">
                  <c:v>2021M01</c:v>
                </c:pt>
                <c:pt idx="5">
                  <c:v>2021M04</c:v>
                </c:pt>
                <c:pt idx="6">
                  <c:v>2021M07</c:v>
                </c:pt>
                <c:pt idx="7">
                  <c:v>2021M10</c:v>
                </c:pt>
                <c:pt idx="8">
                  <c:v>2022M01</c:v>
                </c:pt>
                <c:pt idx="9">
                  <c:v>2022M04</c:v>
                </c:pt>
                <c:pt idx="10">
                  <c:v>2022M07</c:v>
                </c:pt>
                <c:pt idx="11">
                  <c:v>2022M10</c:v>
                </c:pt>
                <c:pt idx="12">
                  <c:v>2023M01</c:v>
                </c:pt>
                <c:pt idx="13">
                  <c:v>2023M04</c:v>
                </c:pt>
                <c:pt idx="14">
                  <c:v>2023M07</c:v>
                </c:pt>
                <c:pt idx="15">
                  <c:v>2023M10</c:v>
                </c:pt>
                <c:pt idx="16">
                  <c:v>2024M01</c:v>
                </c:pt>
                <c:pt idx="17">
                  <c:v>2024M04</c:v>
                </c:pt>
                <c:pt idx="18">
                  <c:v>2024M07</c:v>
                </c:pt>
              </c:strCache>
            </c:strRef>
          </c:cat>
          <c:val>
            <c:numRef>
              <c:f>'EK suhdannebarometri 7-2024'!$B$60:$B$78</c:f>
              <c:numCache>
                <c:formatCode>General</c:formatCode>
                <c:ptCount val="19"/>
                <c:pt idx="0">
                  <c:v>24.6</c:v>
                </c:pt>
                <c:pt idx="1">
                  <c:v>10.8</c:v>
                </c:pt>
                <c:pt idx="2">
                  <c:v>12.3</c:v>
                </c:pt>
                <c:pt idx="3">
                  <c:v>15.8</c:v>
                </c:pt>
                <c:pt idx="4">
                  <c:v>14.4</c:v>
                </c:pt>
                <c:pt idx="5">
                  <c:v>20.6</c:v>
                </c:pt>
                <c:pt idx="6">
                  <c:v>27.8</c:v>
                </c:pt>
                <c:pt idx="7">
                  <c:v>32.9</c:v>
                </c:pt>
                <c:pt idx="8">
                  <c:v>34.6</c:v>
                </c:pt>
                <c:pt idx="9">
                  <c:v>32.4</c:v>
                </c:pt>
                <c:pt idx="10">
                  <c:v>34.799999999999997</c:v>
                </c:pt>
                <c:pt idx="11">
                  <c:v>28.8</c:v>
                </c:pt>
                <c:pt idx="12">
                  <c:v>24.8</c:v>
                </c:pt>
                <c:pt idx="13">
                  <c:v>25.9</c:v>
                </c:pt>
                <c:pt idx="14">
                  <c:v>23.3</c:v>
                </c:pt>
                <c:pt idx="15">
                  <c:v>17.8</c:v>
                </c:pt>
                <c:pt idx="16">
                  <c:v>14.8</c:v>
                </c:pt>
                <c:pt idx="17">
                  <c:v>13.2</c:v>
                </c:pt>
                <c:pt idx="18">
                  <c:v>12.5</c:v>
                </c:pt>
              </c:numCache>
            </c:numRef>
          </c:val>
          <c:smooth val="0"/>
          <c:extLst>
            <c:ext xmlns:c16="http://schemas.microsoft.com/office/drawing/2014/chart" uri="{C3380CC4-5D6E-409C-BE32-E72D297353CC}">
              <c16:uniqueId val="{00000000-D85C-4C66-AEF9-BFC1E5DEA0AF}"/>
            </c:ext>
          </c:extLst>
        </c:ser>
        <c:ser>
          <c:idx val="1"/>
          <c:order val="1"/>
          <c:tx>
            <c:strRef>
              <c:f>'EK suhdannebarometri 7-2024'!$C$1</c:f>
              <c:strCache>
                <c:ptCount val="1"/>
                <c:pt idx="0">
                  <c:v>Riittämätön kysyntä</c:v>
                </c:pt>
              </c:strCache>
            </c:strRef>
          </c:tx>
          <c:spPr>
            <a:ln w="28575" cap="rnd">
              <a:solidFill>
                <a:schemeClr val="accent2"/>
              </a:solidFill>
              <a:round/>
            </a:ln>
            <a:effectLst/>
          </c:spPr>
          <c:marker>
            <c:symbol val="none"/>
          </c:marker>
          <c:cat>
            <c:strRef>
              <c:f>'EK suhdannebarometri 7-2024'!$A$60:$A$78</c:f>
              <c:strCache>
                <c:ptCount val="19"/>
                <c:pt idx="0">
                  <c:v>2020M01</c:v>
                </c:pt>
                <c:pt idx="1">
                  <c:v>2020M04</c:v>
                </c:pt>
                <c:pt idx="2">
                  <c:v>2020M07</c:v>
                </c:pt>
                <c:pt idx="3">
                  <c:v>2020M10</c:v>
                </c:pt>
                <c:pt idx="4">
                  <c:v>2021M01</c:v>
                </c:pt>
                <c:pt idx="5">
                  <c:v>2021M04</c:v>
                </c:pt>
                <c:pt idx="6">
                  <c:v>2021M07</c:v>
                </c:pt>
                <c:pt idx="7">
                  <c:v>2021M10</c:v>
                </c:pt>
                <c:pt idx="8">
                  <c:v>2022M01</c:v>
                </c:pt>
                <c:pt idx="9">
                  <c:v>2022M04</c:v>
                </c:pt>
                <c:pt idx="10">
                  <c:v>2022M07</c:v>
                </c:pt>
                <c:pt idx="11">
                  <c:v>2022M10</c:v>
                </c:pt>
                <c:pt idx="12">
                  <c:v>2023M01</c:v>
                </c:pt>
                <c:pt idx="13">
                  <c:v>2023M04</c:v>
                </c:pt>
                <c:pt idx="14">
                  <c:v>2023M07</c:v>
                </c:pt>
                <c:pt idx="15">
                  <c:v>2023M10</c:v>
                </c:pt>
                <c:pt idx="16">
                  <c:v>2024M01</c:v>
                </c:pt>
                <c:pt idx="17">
                  <c:v>2024M04</c:v>
                </c:pt>
                <c:pt idx="18">
                  <c:v>2024M07</c:v>
                </c:pt>
              </c:strCache>
            </c:strRef>
          </c:cat>
          <c:val>
            <c:numRef>
              <c:f>'EK suhdannebarometri 7-2024'!$C$60:$C$78</c:f>
              <c:numCache>
                <c:formatCode>General</c:formatCode>
                <c:ptCount val="19"/>
                <c:pt idx="0">
                  <c:v>30.8</c:v>
                </c:pt>
                <c:pt idx="1">
                  <c:v>36.1</c:v>
                </c:pt>
                <c:pt idx="2">
                  <c:v>40.799999999999997</c:v>
                </c:pt>
                <c:pt idx="3">
                  <c:v>43.2</c:v>
                </c:pt>
                <c:pt idx="4">
                  <c:v>37.6</c:v>
                </c:pt>
                <c:pt idx="5">
                  <c:v>30.5</c:v>
                </c:pt>
                <c:pt idx="6">
                  <c:v>21.9</c:v>
                </c:pt>
                <c:pt idx="7">
                  <c:v>20.399999999999999</c:v>
                </c:pt>
                <c:pt idx="8">
                  <c:v>20</c:v>
                </c:pt>
                <c:pt idx="9">
                  <c:v>18.8</c:v>
                </c:pt>
                <c:pt idx="10">
                  <c:v>23.5</c:v>
                </c:pt>
                <c:pt idx="11">
                  <c:v>31.2</c:v>
                </c:pt>
                <c:pt idx="12">
                  <c:v>40.299999999999997</c:v>
                </c:pt>
                <c:pt idx="13">
                  <c:v>40.799999999999997</c:v>
                </c:pt>
                <c:pt idx="14">
                  <c:v>44.4</c:v>
                </c:pt>
                <c:pt idx="15">
                  <c:v>55.8</c:v>
                </c:pt>
                <c:pt idx="16">
                  <c:v>51.4</c:v>
                </c:pt>
                <c:pt idx="17">
                  <c:v>50.3</c:v>
                </c:pt>
                <c:pt idx="18">
                  <c:v>52</c:v>
                </c:pt>
              </c:numCache>
            </c:numRef>
          </c:val>
          <c:smooth val="0"/>
          <c:extLst>
            <c:ext xmlns:c16="http://schemas.microsoft.com/office/drawing/2014/chart" uri="{C3380CC4-5D6E-409C-BE32-E72D297353CC}">
              <c16:uniqueId val="{00000001-D85C-4C66-AEF9-BFC1E5DEA0AF}"/>
            </c:ext>
          </c:extLst>
        </c:ser>
        <c:ser>
          <c:idx val="2"/>
          <c:order val="2"/>
          <c:tx>
            <c:strRef>
              <c:f>'EK suhdannebarometri 7-2024'!$D$1</c:f>
              <c:strCache>
                <c:ptCount val="1"/>
                <c:pt idx="0">
                  <c:v>Kapasiteetti tai raaka-aineet</c:v>
                </c:pt>
              </c:strCache>
            </c:strRef>
          </c:tx>
          <c:spPr>
            <a:ln w="28575" cap="rnd">
              <a:solidFill>
                <a:schemeClr val="accent3"/>
              </a:solidFill>
              <a:round/>
            </a:ln>
            <a:effectLst/>
          </c:spPr>
          <c:marker>
            <c:symbol val="none"/>
          </c:marker>
          <c:cat>
            <c:strRef>
              <c:f>'EK suhdannebarometri 7-2024'!$A$60:$A$78</c:f>
              <c:strCache>
                <c:ptCount val="19"/>
                <c:pt idx="0">
                  <c:v>2020M01</c:v>
                </c:pt>
                <c:pt idx="1">
                  <c:v>2020M04</c:v>
                </c:pt>
                <c:pt idx="2">
                  <c:v>2020M07</c:v>
                </c:pt>
                <c:pt idx="3">
                  <c:v>2020M10</c:v>
                </c:pt>
                <c:pt idx="4">
                  <c:v>2021M01</c:v>
                </c:pt>
                <c:pt idx="5">
                  <c:v>2021M04</c:v>
                </c:pt>
                <c:pt idx="6">
                  <c:v>2021M07</c:v>
                </c:pt>
                <c:pt idx="7">
                  <c:v>2021M10</c:v>
                </c:pt>
                <c:pt idx="8">
                  <c:v>2022M01</c:v>
                </c:pt>
                <c:pt idx="9">
                  <c:v>2022M04</c:v>
                </c:pt>
                <c:pt idx="10">
                  <c:v>2022M07</c:v>
                </c:pt>
                <c:pt idx="11">
                  <c:v>2022M10</c:v>
                </c:pt>
                <c:pt idx="12">
                  <c:v>2023M01</c:v>
                </c:pt>
                <c:pt idx="13">
                  <c:v>2023M04</c:v>
                </c:pt>
                <c:pt idx="14">
                  <c:v>2023M07</c:v>
                </c:pt>
                <c:pt idx="15">
                  <c:v>2023M10</c:v>
                </c:pt>
                <c:pt idx="16">
                  <c:v>2024M01</c:v>
                </c:pt>
                <c:pt idx="17">
                  <c:v>2024M04</c:v>
                </c:pt>
                <c:pt idx="18">
                  <c:v>2024M07</c:v>
                </c:pt>
              </c:strCache>
            </c:strRef>
          </c:cat>
          <c:val>
            <c:numRef>
              <c:f>'EK suhdannebarometri 7-2024'!$D$60:$D$78</c:f>
              <c:numCache>
                <c:formatCode>General</c:formatCode>
                <c:ptCount val="19"/>
                <c:pt idx="0">
                  <c:v>3.9</c:v>
                </c:pt>
                <c:pt idx="1">
                  <c:v>3.5</c:v>
                </c:pt>
                <c:pt idx="2">
                  <c:v>2.2999999999999998</c:v>
                </c:pt>
                <c:pt idx="3">
                  <c:v>2.1</c:v>
                </c:pt>
                <c:pt idx="4">
                  <c:v>4.0999999999999996</c:v>
                </c:pt>
                <c:pt idx="5">
                  <c:v>9.8000000000000007</c:v>
                </c:pt>
                <c:pt idx="6">
                  <c:v>13.8</c:v>
                </c:pt>
                <c:pt idx="7">
                  <c:v>16.2</c:v>
                </c:pt>
                <c:pt idx="8">
                  <c:v>15.3</c:v>
                </c:pt>
                <c:pt idx="9">
                  <c:v>20.6</c:v>
                </c:pt>
                <c:pt idx="10">
                  <c:v>16.7</c:v>
                </c:pt>
                <c:pt idx="11">
                  <c:v>12</c:v>
                </c:pt>
                <c:pt idx="12">
                  <c:v>6.9</c:v>
                </c:pt>
                <c:pt idx="13">
                  <c:v>4.4000000000000004</c:v>
                </c:pt>
                <c:pt idx="14">
                  <c:v>4.2</c:v>
                </c:pt>
                <c:pt idx="15">
                  <c:v>3.8</c:v>
                </c:pt>
                <c:pt idx="16">
                  <c:v>3.4</c:v>
                </c:pt>
                <c:pt idx="17">
                  <c:v>4.5999999999999996</c:v>
                </c:pt>
                <c:pt idx="18">
                  <c:v>2.4</c:v>
                </c:pt>
              </c:numCache>
            </c:numRef>
          </c:val>
          <c:smooth val="0"/>
          <c:extLst>
            <c:ext xmlns:c16="http://schemas.microsoft.com/office/drawing/2014/chart" uri="{C3380CC4-5D6E-409C-BE32-E72D297353CC}">
              <c16:uniqueId val="{00000002-D85C-4C66-AEF9-BFC1E5DEA0AF}"/>
            </c:ext>
          </c:extLst>
        </c:ser>
        <c:ser>
          <c:idx val="3"/>
          <c:order val="3"/>
          <c:tx>
            <c:strRef>
              <c:f>'EK suhdannebarometri 7-2024'!$E$1</c:f>
              <c:strCache>
                <c:ptCount val="1"/>
                <c:pt idx="0">
                  <c:v>Rahoitusvaikeudet</c:v>
                </c:pt>
              </c:strCache>
            </c:strRef>
          </c:tx>
          <c:spPr>
            <a:ln w="28575" cap="rnd">
              <a:solidFill>
                <a:schemeClr val="accent4"/>
              </a:solidFill>
              <a:round/>
            </a:ln>
            <a:effectLst/>
          </c:spPr>
          <c:marker>
            <c:symbol val="none"/>
          </c:marker>
          <c:cat>
            <c:strRef>
              <c:f>'EK suhdannebarometri 7-2024'!$A$60:$A$78</c:f>
              <c:strCache>
                <c:ptCount val="19"/>
                <c:pt idx="0">
                  <c:v>2020M01</c:v>
                </c:pt>
                <c:pt idx="1">
                  <c:v>2020M04</c:v>
                </c:pt>
                <c:pt idx="2">
                  <c:v>2020M07</c:v>
                </c:pt>
                <c:pt idx="3">
                  <c:v>2020M10</c:v>
                </c:pt>
                <c:pt idx="4">
                  <c:v>2021M01</c:v>
                </c:pt>
                <c:pt idx="5">
                  <c:v>2021M04</c:v>
                </c:pt>
                <c:pt idx="6">
                  <c:v>2021M07</c:v>
                </c:pt>
                <c:pt idx="7">
                  <c:v>2021M10</c:v>
                </c:pt>
                <c:pt idx="8">
                  <c:v>2022M01</c:v>
                </c:pt>
                <c:pt idx="9">
                  <c:v>2022M04</c:v>
                </c:pt>
                <c:pt idx="10">
                  <c:v>2022M07</c:v>
                </c:pt>
                <c:pt idx="11">
                  <c:v>2022M10</c:v>
                </c:pt>
                <c:pt idx="12">
                  <c:v>2023M01</c:v>
                </c:pt>
                <c:pt idx="13">
                  <c:v>2023M04</c:v>
                </c:pt>
                <c:pt idx="14">
                  <c:v>2023M07</c:v>
                </c:pt>
                <c:pt idx="15">
                  <c:v>2023M10</c:v>
                </c:pt>
                <c:pt idx="16">
                  <c:v>2024M01</c:v>
                </c:pt>
                <c:pt idx="17">
                  <c:v>2024M04</c:v>
                </c:pt>
                <c:pt idx="18">
                  <c:v>2024M07</c:v>
                </c:pt>
              </c:strCache>
            </c:strRef>
          </c:cat>
          <c:val>
            <c:numRef>
              <c:f>'EK suhdannebarometri 7-2024'!$E$60:$E$78</c:f>
              <c:numCache>
                <c:formatCode>General</c:formatCode>
                <c:ptCount val="19"/>
                <c:pt idx="0">
                  <c:v>2</c:v>
                </c:pt>
                <c:pt idx="1">
                  <c:v>5.8</c:v>
                </c:pt>
                <c:pt idx="2">
                  <c:v>4.2</c:v>
                </c:pt>
                <c:pt idx="3">
                  <c:v>3.2</c:v>
                </c:pt>
                <c:pt idx="4">
                  <c:v>3.3</c:v>
                </c:pt>
                <c:pt idx="5">
                  <c:v>2.9</c:v>
                </c:pt>
                <c:pt idx="6">
                  <c:v>2.1</c:v>
                </c:pt>
                <c:pt idx="7">
                  <c:v>3.6</c:v>
                </c:pt>
                <c:pt idx="8">
                  <c:v>2.2999999999999998</c:v>
                </c:pt>
                <c:pt idx="9">
                  <c:v>3</c:v>
                </c:pt>
                <c:pt idx="10">
                  <c:v>3.4</c:v>
                </c:pt>
                <c:pt idx="11">
                  <c:v>5.8</c:v>
                </c:pt>
                <c:pt idx="12">
                  <c:v>4.5</c:v>
                </c:pt>
                <c:pt idx="13">
                  <c:v>5.3</c:v>
                </c:pt>
                <c:pt idx="14">
                  <c:v>5.6</c:v>
                </c:pt>
                <c:pt idx="15">
                  <c:v>6.1</c:v>
                </c:pt>
                <c:pt idx="16">
                  <c:v>6.9</c:v>
                </c:pt>
                <c:pt idx="17">
                  <c:v>7</c:v>
                </c:pt>
                <c:pt idx="18">
                  <c:v>5.4</c:v>
                </c:pt>
              </c:numCache>
            </c:numRef>
          </c:val>
          <c:smooth val="0"/>
          <c:extLst>
            <c:ext xmlns:c16="http://schemas.microsoft.com/office/drawing/2014/chart" uri="{C3380CC4-5D6E-409C-BE32-E72D297353CC}">
              <c16:uniqueId val="{00000003-D85C-4C66-AEF9-BFC1E5DEA0AF}"/>
            </c:ext>
          </c:extLst>
        </c:ser>
        <c:ser>
          <c:idx val="4"/>
          <c:order val="4"/>
          <c:tx>
            <c:strRef>
              <c:f>'EK suhdannebarometri 7-2024'!$F$1</c:f>
              <c:strCache>
                <c:ptCount val="1"/>
                <c:pt idx="0">
                  <c:v>Muu este</c:v>
                </c:pt>
              </c:strCache>
            </c:strRef>
          </c:tx>
          <c:spPr>
            <a:ln w="28575" cap="rnd">
              <a:solidFill>
                <a:schemeClr val="accent5"/>
              </a:solidFill>
              <a:round/>
            </a:ln>
            <a:effectLst/>
          </c:spPr>
          <c:marker>
            <c:symbol val="none"/>
          </c:marker>
          <c:cat>
            <c:strRef>
              <c:f>'EK suhdannebarometri 7-2024'!$A$60:$A$78</c:f>
              <c:strCache>
                <c:ptCount val="19"/>
                <c:pt idx="0">
                  <c:v>2020M01</c:v>
                </c:pt>
                <c:pt idx="1">
                  <c:v>2020M04</c:v>
                </c:pt>
                <c:pt idx="2">
                  <c:v>2020M07</c:v>
                </c:pt>
                <c:pt idx="3">
                  <c:v>2020M10</c:v>
                </c:pt>
                <c:pt idx="4">
                  <c:v>2021M01</c:v>
                </c:pt>
                <c:pt idx="5">
                  <c:v>2021M04</c:v>
                </c:pt>
                <c:pt idx="6">
                  <c:v>2021M07</c:v>
                </c:pt>
                <c:pt idx="7">
                  <c:v>2021M10</c:v>
                </c:pt>
                <c:pt idx="8">
                  <c:v>2022M01</c:v>
                </c:pt>
                <c:pt idx="9">
                  <c:v>2022M04</c:v>
                </c:pt>
                <c:pt idx="10">
                  <c:v>2022M07</c:v>
                </c:pt>
                <c:pt idx="11">
                  <c:v>2022M10</c:v>
                </c:pt>
                <c:pt idx="12">
                  <c:v>2023M01</c:v>
                </c:pt>
                <c:pt idx="13">
                  <c:v>2023M04</c:v>
                </c:pt>
                <c:pt idx="14">
                  <c:v>2023M07</c:v>
                </c:pt>
                <c:pt idx="15">
                  <c:v>2023M10</c:v>
                </c:pt>
                <c:pt idx="16">
                  <c:v>2024M01</c:v>
                </c:pt>
                <c:pt idx="17">
                  <c:v>2024M04</c:v>
                </c:pt>
                <c:pt idx="18">
                  <c:v>2024M07</c:v>
                </c:pt>
              </c:strCache>
            </c:strRef>
          </c:cat>
          <c:val>
            <c:numRef>
              <c:f>'EK suhdannebarometri 7-2024'!$F$60:$F$78</c:f>
              <c:numCache>
                <c:formatCode>General</c:formatCode>
                <c:ptCount val="19"/>
                <c:pt idx="0">
                  <c:v>5.9</c:v>
                </c:pt>
                <c:pt idx="1">
                  <c:v>28.4</c:v>
                </c:pt>
                <c:pt idx="2">
                  <c:v>11.2</c:v>
                </c:pt>
                <c:pt idx="3">
                  <c:v>9.8000000000000007</c:v>
                </c:pt>
                <c:pt idx="4">
                  <c:v>7</c:v>
                </c:pt>
                <c:pt idx="5">
                  <c:v>7.9</c:v>
                </c:pt>
                <c:pt idx="6">
                  <c:v>6.1</c:v>
                </c:pt>
                <c:pt idx="7">
                  <c:v>6.9</c:v>
                </c:pt>
                <c:pt idx="8">
                  <c:v>9.1999999999999993</c:v>
                </c:pt>
                <c:pt idx="9">
                  <c:v>12.3</c:v>
                </c:pt>
                <c:pt idx="10">
                  <c:v>11.5</c:v>
                </c:pt>
                <c:pt idx="11">
                  <c:v>6.3</c:v>
                </c:pt>
                <c:pt idx="12">
                  <c:v>7.3</c:v>
                </c:pt>
                <c:pt idx="13">
                  <c:v>4.0999999999999996</c:v>
                </c:pt>
                <c:pt idx="14">
                  <c:v>4.5</c:v>
                </c:pt>
                <c:pt idx="15">
                  <c:v>2.7</c:v>
                </c:pt>
                <c:pt idx="16">
                  <c:v>2.4</c:v>
                </c:pt>
                <c:pt idx="17">
                  <c:v>10.7</c:v>
                </c:pt>
                <c:pt idx="18">
                  <c:v>3</c:v>
                </c:pt>
              </c:numCache>
            </c:numRef>
          </c:val>
          <c:smooth val="0"/>
          <c:extLst>
            <c:ext xmlns:c16="http://schemas.microsoft.com/office/drawing/2014/chart" uri="{C3380CC4-5D6E-409C-BE32-E72D297353CC}">
              <c16:uniqueId val="{00000004-D85C-4C66-AEF9-BFC1E5DEA0AF}"/>
            </c:ext>
          </c:extLst>
        </c:ser>
        <c:dLbls>
          <c:showLegendKey val="0"/>
          <c:showVal val="0"/>
          <c:showCatName val="0"/>
          <c:showSerName val="0"/>
          <c:showPercent val="0"/>
          <c:showBubbleSize val="0"/>
        </c:dLbls>
        <c:smooth val="0"/>
        <c:axId val="724376224"/>
        <c:axId val="472104280"/>
      </c:lineChart>
      <c:catAx>
        <c:axId val="72437622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472104280"/>
        <c:crosses val="autoZero"/>
        <c:auto val="1"/>
        <c:lblAlgn val="ctr"/>
        <c:lblOffset val="100"/>
        <c:noMultiLvlLbl val="0"/>
      </c:catAx>
      <c:valAx>
        <c:axId val="4721042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crossAx val="724376224"/>
        <c:crosses val="autoZero"/>
        <c:crossBetween val="between"/>
        <c:majorUnit val="5"/>
      </c:valAx>
      <c:spPr>
        <a:noFill/>
        <a:ln>
          <a:noFill/>
        </a:ln>
        <a:effectLst/>
      </c:spPr>
    </c:plotArea>
    <c:legend>
      <c:legendPos val="b"/>
      <c:layout>
        <c:manualLayout>
          <c:xMode val="edge"/>
          <c:yMode val="edge"/>
          <c:x val="4.6981371644416944E-2"/>
          <c:y val="0.13287540052467481"/>
          <c:w val="0.89999989354178322"/>
          <c:h val="0.11392386703209323"/>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Verdana" panose="020B0604030504040204" pitchFamily="34" charset="0"/>
              <a:ea typeface="Verdana" panose="020B0604030504040204" pitchFamily="34" charset="0"/>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latin typeface="Verdana" panose="020B0604030504040204" pitchFamily="34" charset="0"/>
          <a:ea typeface="Verdana" panose="020B0604030504040204" pitchFamily="34" charset="0"/>
        </a:defRPr>
      </a:pPr>
      <a:endParaRPr lang="fi-FI"/>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ysClr val="windowText" lastClr="000000"/>
                </a:solidFill>
                <a:latin typeface="+mn-lt"/>
                <a:ea typeface="+mn-ea"/>
                <a:cs typeface="+mn-cs"/>
              </a:defRPr>
            </a:pPr>
            <a:r>
              <a:rPr lang="fi-FI" sz="800" b="0" i="0" u="none" strike="noStrike" kern="1200" spc="0" baseline="0">
                <a:solidFill>
                  <a:sysClr val="windowText" lastClr="000000"/>
                </a:solidFill>
                <a:latin typeface="Verdana" panose="020B0604030504040204" pitchFamily="34" charset="0"/>
                <a:ea typeface="Verdana" panose="020B0604030504040204" pitchFamily="34" charset="0"/>
              </a:rPr>
              <a:t>Koko talonrakennustuotanto</a:t>
            </a:r>
          </a:p>
          <a:p>
            <a:pPr>
              <a:defRPr sz="800">
                <a:solidFill>
                  <a:sysClr val="windowText" lastClr="000000"/>
                </a:solidFill>
              </a:defRPr>
            </a:pPr>
            <a:r>
              <a:rPr lang="fi-FI" sz="800" b="0" i="0" u="none" strike="noStrike" kern="1200" spc="0" baseline="0">
                <a:solidFill>
                  <a:sysClr val="windowText" lastClr="000000"/>
                </a:solidFill>
                <a:latin typeface="Verdana" panose="020B0604030504040204" pitchFamily="34" charset="0"/>
                <a:ea typeface="Verdana" panose="020B0604030504040204" pitchFamily="34" charset="0"/>
              </a:rPr>
              <a:t>12 kk liukuva summa, milj. m3</a:t>
            </a:r>
          </a:p>
        </c:rich>
      </c:tx>
      <c:overlay val="0"/>
      <c:spPr>
        <a:noFill/>
        <a:ln>
          <a:noFill/>
        </a:ln>
        <a:effectLst/>
      </c:spPr>
      <c:txPr>
        <a:bodyPr rot="0" spcFirstLastPara="1" vertOverflow="ellipsis" vert="horz" wrap="square" anchor="ctr" anchorCtr="1"/>
        <a:lstStyle/>
        <a:p>
          <a:pPr>
            <a:defRPr sz="800" b="0" i="0" u="none" strike="noStrike" kern="1200" spc="0" baseline="0">
              <a:solidFill>
                <a:sysClr val="windowText" lastClr="000000"/>
              </a:solidFill>
              <a:latin typeface="+mn-lt"/>
              <a:ea typeface="+mn-ea"/>
              <a:cs typeface="+mn-cs"/>
            </a:defRPr>
          </a:pPr>
          <a:endParaRPr lang="fi-FI"/>
        </a:p>
      </c:txPr>
    </c:title>
    <c:autoTitleDeleted val="0"/>
    <c:plotArea>
      <c:layout/>
      <c:lineChart>
        <c:grouping val="standard"/>
        <c:varyColors val="0"/>
        <c:ser>
          <c:idx val="0"/>
          <c:order val="0"/>
          <c:tx>
            <c:strRef>
              <c:f>'Rakennus- ja asuntotuotanto'!$C$5</c:f>
              <c:strCache>
                <c:ptCount val="1"/>
                <c:pt idx="0">
                  <c:v>Myönnetyt rakennusluvat</c:v>
                </c:pt>
              </c:strCache>
            </c:strRef>
          </c:tx>
          <c:spPr>
            <a:ln w="28575" cap="rnd">
              <a:solidFill>
                <a:schemeClr val="accent1"/>
              </a:solidFill>
              <a:round/>
            </a:ln>
            <a:effectLst/>
          </c:spPr>
          <c:marker>
            <c:symbol val="none"/>
          </c:marker>
          <c:cat>
            <c:strRef>
              <c:f>'Rakennus- ja asuntotuotanto'!$B$6:$B$59</c:f>
              <c:strCache>
                <c:ptCount val="54"/>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strCache>
            </c:strRef>
          </c:cat>
          <c:val>
            <c:numRef>
              <c:f>'Rakennus- ja asuntotuotanto'!$C$6:$C$59</c:f>
              <c:numCache>
                <c:formatCode>0</c:formatCode>
                <c:ptCount val="54"/>
                <c:pt idx="0">
                  <c:v>44360779</c:v>
                </c:pt>
                <c:pt idx="1">
                  <c:v>44234655</c:v>
                </c:pt>
                <c:pt idx="2">
                  <c:v>44637326</c:v>
                </c:pt>
                <c:pt idx="3">
                  <c:v>44736199</c:v>
                </c:pt>
                <c:pt idx="4">
                  <c:v>42902381</c:v>
                </c:pt>
                <c:pt idx="5">
                  <c:v>41639520</c:v>
                </c:pt>
                <c:pt idx="6">
                  <c:v>41572089</c:v>
                </c:pt>
                <c:pt idx="7">
                  <c:v>41070433</c:v>
                </c:pt>
                <c:pt idx="8">
                  <c:v>40808644</c:v>
                </c:pt>
                <c:pt idx="9">
                  <c:v>41687381</c:v>
                </c:pt>
                <c:pt idx="10">
                  <c:v>40823525</c:v>
                </c:pt>
                <c:pt idx="11">
                  <c:v>41590705</c:v>
                </c:pt>
                <c:pt idx="12">
                  <c:v>41916569</c:v>
                </c:pt>
                <c:pt idx="13">
                  <c:v>42184728</c:v>
                </c:pt>
                <c:pt idx="14">
                  <c:v>43281126</c:v>
                </c:pt>
                <c:pt idx="15">
                  <c:v>43829656</c:v>
                </c:pt>
                <c:pt idx="16">
                  <c:v>45692519</c:v>
                </c:pt>
                <c:pt idx="17">
                  <c:v>45796438</c:v>
                </c:pt>
                <c:pt idx="18">
                  <c:v>45826843</c:v>
                </c:pt>
                <c:pt idx="19">
                  <c:v>45375332</c:v>
                </c:pt>
                <c:pt idx="20">
                  <c:v>45101457</c:v>
                </c:pt>
                <c:pt idx="21">
                  <c:v>45516459</c:v>
                </c:pt>
                <c:pt idx="22">
                  <c:v>45552781</c:v>
                </c:pt>
                <c:pt idx="23">
                  <c:v>45325568</c:v>
                </c:pt>
                <c:pt idx="24">
                  <c:v>44883639</c:v>
                </c:pt>
                <c:pt idx="25">
                  <c:v>45547842</c:v>
                </c:pt>
                <c:pt idx="26">
                  <c:v>45639071</c:v>
                </c:pt>
                <c:pt idx="27">
                  <c:v>44366523</c:v>
                </c:pt>
                <c:pt idx="28">
                  <c:v>43014962</c:v>
                </c:pt>
                <c:pt idx="29">
                  <c:v>41926225</c:v>
                </c:pt>
                <c:pt idx="30">
                  <c:v>41003461</c:v>
                </c:pt>
                <c:pt idx="31">
                  <c:v>43185027</c:v>
                </c:pt>
                <c:pt idx="32">
                  <c:v>42339436</c:v>
                </c:pt>
                <c:pt idx="33">
                  <c:v>40294431</c:v>
                </c:pt>
                <c:pt idx="34">
                  <c:v>40074035</c:v>
                </c:pt>
                <c:pt idx="35">
                  <c:v>39432822</c:v>
                </c:pt>
                <c:pt idx="36">
                  <c:v>39579546</c:v>
                </c:pt>
                <c:pt idx="37">
                  <c:v>38190386</c:v>
                </c:pt>
                <c:pt idx="38">
                  <c:v>36544979</c:v>
                </c:pt>
                <c:pt idx="39">
                  <c:v>35023354</c:v>
                </c:pt>
                <c:pt idx="40">
                  <c:v>34195116</c:v>
                </c:pt>
                <c:pt idx="41">
                  <c:v>34511322</c:v>
                </c:pt>
                <c:pt idx="42">
                  <c:v>34214810</c:v>
                </c:pt>
                <c:pt idx="43">
                  <c:v>31261364</c:v>
                </c:pt>
                <c:pt idx="44">
                  <c:v>31439157</c:v>
                </c:pt>
                <c:pt idx="45">
                  <c:v>31116924</c:v>
                </c:pt>
                <c:pt idx="46">
                  <c:v>30521984</c:v>
                </c:pt>
                <c:pt idx="47">
                  <c:v>29700895</c:v>
                </c:pt>
                <c:pt idx="48">
                  <c:v>28686188</c:v>
                </c:pt>
                <c:pt idx="49">
                  <c:v>28840494</c:v>
                </c:pt>
                <c:pt idx="50">
                  <c:v>28436057</c:v>
                </c:pt>
                <c:pt idx="51">
                  <c:v>28971430</c:v>
                </c:pt>
                <c:pt idx="52">
                  <c:v>29328829</c:v>
                </c:pt>
                <c:pt idx="53">
                  <c:v>27372724</c:v>
                </c:pt>
              </c:numCache>
            </c:numRef>
          </c:val>
          <c:smooth val="0"/>
          <c:extLst>
            <c:ext xmlns:c16="http://schemas.microsoft.com/office/drawing/2014/chart" uri="{C3380CC4-5D6E-409C-BE32-E72D297353CC}">
              <c16:uniqueId val="{00000000-102E-4914-9E30-12C2E3842BC8}"/>
            </c:ext>
          </c:extLst>
        </c:ser>
        <c:ser>
          <c:idx val="1"/>
          <c:order val="1"/>
          <c:tx>
            <c:strRef>
              <c:f>'Rakennus- ja asuntotuotanto'!$D$5</c:f>
              <c:strCache>
                <c:ptCount val="1"/>
                <c:pt idx="0">
                  <c:v>Aloitetut rakennushankkeet</c:v>
                </c:pt>
              </c:strCache>
            </c:strRef>
          </c:tx>
          <c:spPr>
            <a:ln w="28575" cap="rnd">
              <a:solidFill>
                <a:schemeClr val="accent2"/>
              </a:solidFill>
              <a:round/>
            </a:ln>
            <a:effectLst/>
          </c:spPr>
          <c:marker>
            <c:symbol val="none"/>
          </c:marker>
          <c:cat>
            <c:strRef>
              <c:f>'Rakennus- ja asuntotuotanto'!$B$6:$B$59</c:f>
              <c:strCache>
                <c:ptCount val="54"/>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strCache>
            </c:strRef>
          </c:cat>
          <c:val>
            <c:numRef>
              <c:f>'Rakennus- ja asuntotuotanto'!$D$6:$D$59</c:f>
              <c:numCache>
                <c:formatCode>0</c:formatCode>
                <c:ptCount val="54"/>
                <c:pt idx="0">
                  <c:v>38994095</c:v>
                </c:pt>
                <c:pt idx="1">
                  <c:v>39582554</c:v>
                </c:pt>
                <c:pt idx="2">
                  <c:v>39835064</c:v>
                </c:pt>
                <c:pt idx="3">
                  <c:v>40098702</c:v>
                </c:pt>
                <c:pt idx="4">
                  <c:v>39082999</c:v>
                </c:pt>
                <c:pt idx="5">
                  <c:v>38569356</c:v>
                </c:pt>
                <c:pt idx="6">
                  <c:v>38492205</c:v>
                </c:pt>
                <c:pt idx="7">
                  <c:v>36985489</c:v>
                </c:pt>
                <c:pt idx="8">
                  <c:v>37664658</c:v>
                </c:pt>
                <c:pt idx="9">
                  <c:v>38587694</c:v>
                </c:pt>
                <c:pt idx="10">
                  <c:v>38482566</c:v>
                </c:pt>
                <c:pt idx="11">
                  <c:v>39090932</c:v>
                </c:pt>
                <c:pt idx="12">
                  <c:v>38666479</c:v>
                </c:pt>
                <c:pt idx="13">
                  <c:v>38585920</c:v>
                </c:pt>
                <c:pt idx="14">
                  <c:v>38815781</c:v>
                </c:pt>
                <c:pt idx="15">
                  <c:v>39284018</c:v>
                </c:pt>
                <c:pt idx="16">
                  <c:v>40185144</c:v>
                </c:pt>
                <c:pt idx="17">
                  <c:v>41056753</c:v>
                </c:pt>
                <c:pt idx="18">
                  <c:v>41116992</c:v>
                </c:pt>
                <c:pt idx="19">
                  <c:v>42804998</c:v>
                </c:pt>
                <c:pt idx="20">
                  <c:v>43071418</c:v>
                </c:pt>
                <c:pt idx="21">
                  <c:v>42384707</c:v>
                </c:pt>
                <c:pt idx="22">
                  <c:v>43668744</c:v>
                </c:pt>
                <c:pt idx="23">
                  <c:v>43834816</c:v>
                </c:pt>
                <c:pt idx="24">
                  <c:v>43713552</c:v>
                </c:pt>
                <c:pt idx="25">
                  <c:v>43823217</c:v>
                </c:pt>
                <c:pt idx="26">
                  <c:v>43741181</c:v>
                </c:pt>
                <c:pt idx="27">
                  <c:v>42137517</c:v>
                </c:pt>
                <c:pt idx="28">
                  <c:v>42745814</c:v>
                </c:pt>
                <c:pt idx="29">
                  <c:v>41721005</c:v>
                </c:pt>
                <c:pt idx="30">
                  <c:v>40606419</c:v>
                </c:pt>
                <c:pt idx="31">
                  <c:v>39354727</c:v>
                </c:pt>
                <c:pt idx="32">
                  <c:v>38132954</c:v>
                </c:pt>
                <c:pt idx="33">
                  <c:v>40183470</c:v>
                </c:pt>
                <c:pt idx="34">
                  <c:v>38175725</c:v>
                </c:pt>
                <c:pt idx="35">
                  <c:v>37119831</c:v>
                </c:pt>
                <c:pt idx="36">
                  <c:v>37996398</c:v>
                </c:pt>
                <c:pt idx="37">
                  <c:v>37525242</c:v>
                </c:pt>
                <c:pt idx="38">
                  <c:v>36232923</c:v>
                </c:pt>
                <c:pt idx="39">
                  <c:v>35825971</c:v>
                </c:pt>
                <c:pt idx="40">
                  <c:v>34784624</c:v>
                </c:pt>
                <c:pt idx="41">
                  <c:v>34389459</c:v>
                </c:pt>
                <c:pt idx="42">
                  <c:v>34923259</c:v>
                </c:pt>
                <c:pt idx="43">
                  <c:v>34492811</c:v>
                </c:pt>
                <c:pt idx="44">
                  <c:v>33769688</c:v>
                </c:pt>
                <c:pt idx="45">
                  <c:v>30408058</c:v>
                </c:pt>
                <c:pt idx="46">
                  <c:v>30257450</c:v>
                </c:pt>
                <c:pt idx="47">
                  <c:v>30139851</c:v>
                </c:pt>
                <c:pt idx="48">
                  <c:v>29168064</c:v>
                </c:pt>
                <c:pt idx="49">
                  <c:v>29720182</c:v>
                </c:pt>
                <c:pt idx="50">
                  <c:v>29842829</c:v>
                </c:pt>
                <c:pt idx="51">
                  <c:v>30928365</c:v>
                </c:pt>
                <c:pt idx="52">
                  <c:v>30650294</c:v>
                </c:pt>
                <c:pt idx="53">
                  <c:v>31687503</c:v>
                </c:pt>
              </c:numCache>
            </c:numRef>
          </c:val>
          <c:smooth val="0"/>
          <c:extLst>
            <c:ext xmlns:c16="http://schemas.microsoft.com/office/drawing/2014/chart" uri="{C3380CC4-5D6E-409C-BE32-E72D297353CC}">
              <c16:uniqueId val="{00000001-102E-4914-9E30-12C2E3842BC8}"/>
            </c:ext>
          </c:extLst>
        </c:ser>
        <c:ser>
          <c:idx val="2"/>
          <c:order val="2"/>
          <c:tx>
            <c:strRef>
              <c:f>'Rakennus- ja asuntotuotanto'!$E$5</c:f>
              <c:strCache>
                <c:ptCount val="1"/>
                <c:pt idx="0">
                  <c:v>Valmistuneet rakennushankkeet</c:v>
                </c:pt>
              </c:strCache>
            </c:strRef>
          </c:tx>
          <c:spPr>
            <a:ln w="28575" cap="rnd">
              <a:solidFill>
                <a:schemeClr val="accent3"/>
              </a:solidFill>
              <a:round/>
            </a:ln>
            <a:effectLst/>
          </c:spPr>
          <c:marker>
            <c:symbol val="none"/>
          </c:marker>
          <c:cat>
            <c:strRef>
              <c:f>'Rakennus- ja asuntotuotanto'!$B$6:$B$59</c:f>
              <c:strCache>
                <c:ptCount val="54"/>
                <c:pt idx="0">
                  <c:v>2020</c:v>
                </c:pt>
                <c:pt idx="1">
                  <c:v>2020M02</c:v>
                </c:pt>
                <c:pt idx="2">
                  <c:v>2020M03</c:v>
                </c:pt>
                <c:pt idx="3">
                  <c:v>2020M04</c:v>
                </c:pt>
                <c:pt idx="4">
                  <c:v>2020M05</c:v>
                </c:pt>
                <c:pt idx="5">
                  <c:v>2020M06</c:v>
                </c:pt>
                <c:pt idx="6">
                  <c:v>2020M07</c:v>
                </c:pt>
                <c:pt idx="7">
                  <c:v>2020M08</c:v>
                </c:pt>
                <c:pt idx="8">
                  <c:v>2020M09</c:v>
                </c:pt>
                <c:pt idx="9">
                  <c:v>2020M10</c:v>
                </c:pt>
                <c:pt idx="10">
                  <c:v>2020M11</c:v>
                </c:pt>
                <c:pt idx="11">
                  <c:v>2020M12</c:v>
                </c:pt>
                <c:pt idx="12">
                  <c:v>2021</c:v>
                </c:pt>
                <c:pt idx="13">
                  <c:v>2021M02</c:v>
                </c:pt>
                <c:pt idx="14">
                  <c:v>2021M03</c:v>
                </c:pt>
                <c:pt idx="15">
                  <c:v>2021M04</c:v>
                </c:pt>
                <c:pt idx="16">
                  <c:v>2021M05</c:v>
                </c:pt>
                <c:pt idx="17">
                  <c:v>2021M06</c:v>
                </c:pt>
                <c:pt idx="18">
                  <c:v>2021M07</c:v>
                </c:pt>
                <c:pt idx="19">
                  <c:v>2021M08</c:v>
                </c:pt>
                <c:pt idx="20">
                  <c:v>2021M09</c:v>
                </c:pt>
                <c:pt idx="21">
                  <c:v>2021M10</c:v>
                </c:pt>
                <c:pt idx="22">
                  <c:v>2021M11</c:v>
                </c:pt>
                <c:pt idx="23">
                  <c:v>2021M12</c:v>
                </c:pt>
                <c:pt idx="24">
                  <c:v>2022</c:v>
                </c:pt>
                <c:pt idx="25">
                  <c:v>2022M02</c:v>
                </c:pt>
                <c:pt idx="26">
                  <c:v>2022M03</c:v>
                </c:pt>
                <c:pt idx="27">
                  <c:v>2022M04</c:v>
                </c:pt>
                <c:pt idx="28">
                  <c:v>2022M05</c:v>
                </c:pt>
                <c:pt idx="29">
                  <c:v>2022M06</c:v>
                </c:pt>
                <c:pt idx="30">
                  <c:v>2022M07</c:v>
                </c:pt>
                <c:pt idx="31">
                  <c:v>2022M08</c:v>
                </c:pt>
                <c:pt idx="32">
                  <c:v>2022M09</c:v>
                </c:pt>
                <c:pt idx="33">
                  <c:v>2022M10</c:v>
                </c:pt>
                <c:pt idx="34">
                  <c:v>2022M11</c:v>
                </c:pt>
                <c:pt idx="35">
                  <c:v>2022M12</c:v>
                </c:pt>
                <c:pt idx="36">
                  <c:v>2023</c:v>
                </c:pt>
                <c:pt idx="37">
                  <c:v>2023M02</c:v>
                </c:pt>
                <c:pt idx="38">
                  <c:v>2023M03</c:v>
                </c:pt>
                <c:pt idx="39">
                  <c:v>2023M04</c:v>
                </c:pt>
                <c:pt idx="40">
                  <c:v>2023M05</c:v>
                </c:pt>
                <c:pt idx="41">
                  <c:v>2023M06</c:v>
                </c:pt>
                <c:pt idx="42">
                  <c:v>2023M07</c:v>
                </c:pt>
                <c:pt idx="43">
                  <c:v>2023M08</c:v>
                </c:pt>
                <c:pt idx="44">
                  <c:v>2023M09</c:v>
                </c:pt>
                <c:pt idx="45">
                  <c:v>2023M10</c:v>
                </c:pt>
                <c:pt idx="46">
                  <c:v>2023M11</c:v>
                </c:pt>
                <c:pt idx="47">
                  <c:v>2023M12</c:v>
                </c:pt>
                <c:pt idx="48">
                  <c:v>2024</c:v>
                </c:pt>
                <c:pt idx="49">
                  <c:v>2024M02</c:v>
                </c:pt>
                <c:pt idx="50">
                  <c:v>2024M03</c:v>
                </c:pt>
                <c:pt idx="51">
                  <c:v>2024M04</c:v>
                </c:pt>
                <c:pt idx="52">
                  <c:v>2024M05</c:v>
                </c:pt>
                <c:pt idx="53">
                  <c:v>2024M06</c:v>
                </c:pt>
              </c:strCache>
            </c:strRef>
          </c:cat>
          <c:val>
            <c:numRef>
              <c:f>'Rakennus- ja asuntotuotanto'!$E$6:$E$59</c:f>
              <c:numCache>
                <c:formatCode>0</c:formatCode>
                <c:ptCount val="54"/>
                <c:pt idx="0">
                  <c:v>36082569</c:v>
                </c:pt>
                <c:pt idx="1">
                  <c:v>35997157</c:v>
                </c:pt>
                <c:pt idx="2">
                  <c:v>35763861</c:v>
                </c:pt>
                <c:pt idx="3">
                  <c:v>36668079</c:v>
                </c:pt>
                <c:pt idx="4">
                  <c:v>36959926</c:v>
                </c:pt>
                <c:pt idx="5">
                  <c:v>37488128</c:v>
                </c:pt>
                <c:pt idx="6">
                  <c:v>38036019</c:v>
                </c:pt>
                <c:pt idx="7">
                  <c:v>38675241</c:v>
                </c:pt>
                <c:pt idx="8">
                  <c:v>38821379</c:v>
                </c:pt>
                <c:pt idx="9">
                  <c:v>37073373</c:v>
                </c:pt>
                <c:pt idx="10">
                  <c:v>37739281</c:v>
                </c:pt>
                <c:pt idx="11">
                  <c:v>37510478</c:v>
                </c:pt>
                <c:pt idx="12">
                  <c:v>36870988</c:v>
                </c:pt>
                <c:pt idx="13">
                  <c:v>36825150</c:v>
                </c:pt>
                <c:pt idx="14">
                  <c:v>37399116</c:v>
                </c:pt>
                <c:pt idx="15">
                  <c:v>36794632</c:v>
                </c:pt>
                <c:pt idx="16">
                  <c:v>36655664</c:v>
                </c:pt>
                <c:pt idx="17">
                  <c:v>36549647</c:v>
                </c:pt>
                <c:pt idx="18">
                  <c:v>36115940</c:v>
                </c:pt>
                <c:pt idx="19">
                  <c:v>35489948</c:v>
                </c:pt>
                <c:pt idx="20">
                  <c:v>35444387</c:v>
                </c:pt>
                <c:pt idx="21">
                  <c:v>36979429</c:v>
                </c:pt>
                <c:pt idx="22">
                  <c:v>36691257</c:v>
                </c:pt>
                <c:pt idx="23">
                  <c:v>37702287</c:v>
                </c:pt>
                <c:pt idx="24">
                  <c:v>38093609</c:v>
                </c:pt>
                <c:pt idx="25">
                  <c:v>37910772</c:v>
                </c:pt>
                <c:pt idx="26">
                  <c:v>39454066</c:v>
                </c:pt>
                <c:pt idx="27">
                  <c:v>39844223</c:v>
                </c:pt>
                <c:pt idx="28">
                  <c:v>40319520</c:v>
                </c:pt>
                <c:pt idx="29">
                  <c:v>40890629</c:v>
                </c:pt>
                <c:pt idx="30">
                  <c:v>41142262</c:v>
                </c:pt>
                <c:pt idx="31">
                  <c:v>40928493</c:v>
                </c:pt>
                <c:pt idx="32">
                  <c:v>42151364</c:v>
                </c:pt>
                <c:pt idx="33">
                  <c:v>40935130</c:v>
                </c:pt>
                <c:pt idx="34">
                  <c:v>41166395</c:v>
                </c:pt>
                <c:pt idx="35">
                  <c:v>41181193</c:v>
                </c:pt>
                <c:pt idx="36">
                  <c:v>41968605</c:v>
                </c:pt>
                <c:pt idx="37">
                  <c:v>42465789</c:v>
                </c:pt>
                <c:pt idx="38">
                  <c:v>41498864</c:v>
                </c:pt>
                <c:pt idx="39">
                  <c:v>41723820</c:v>
                </c:pt>
                <c:pt idx="40">
                  <c:v>41396795</c:v>
                </c:pt>
                <c:pt idx="41">
                  <c:v>41294210</c:v>
                </c:pt>
                <c:pt idx="42">
                  <c:v>40757671</c:v>
                </c:pt>
                <c:pt idx="43">
                  <c:v>40762977</c:v>
                </c:pt>
                <c:pt idx="44">
                  <c:v>40796932</c:v>
                </c:pt>
                <c:pt idx="45">
                  <c:v>40877473</c:v>
                </c:pt>
                <c:pt idx="46">
                  <c:v>40002807</c:v>
                </c:pt>
                <c:pt idx="47">
                  <c:v>38225573</c:v>
                </c:pt>
                <c:pt idx="48">
                  <c:v>36788624</c:v>
                </c:pt>
                <c:pt idx="49">
                  <c:v>35737287</c:v>
                </c:pt>
                <c:pt idx="50">
                  <c:v>34432307</c:v>
                </c:pt>
                <c:pt idx="51">
                  <c:v>32856468</c:v>
                </c:pt>
                <c:pt idx="52">
                  <c:v>32179182</c:v>
                </c:pt>
                <c:pt idx="53">
                  <c:v>31110289</c:v>
                </c:pt>
              </c:numCache>
            </c:numRef>
          </c:val>
          <c:smooth val="0"/>
          <c:extLst>
            <c:ext xmlns:c16="http://schemas.microsoft.com/office/drawing/2014/chart" uri="{C3380CC4-5D6E-409C-BE32-E72D297353CC}">
              <c16:uniqueId val="{00000002-102E-4914-9E30-12C2E3842BC8}"/>
            </c:ext>
          </c:extLst>
        </c:ser>
        <c:dLbls>
          <c:showLegendKey val="0"/>
          <c:showVal val="0"/>
          <c:showCatName val="0"/>
          <c:showSerName val="0"/>
          <c:showPercent val="0"/>
          <c:showBubbleSize val="0"/>
        </c:dLbls>
        <c:smooth val="0"/>
        <c:axId val="769862376"/>
        <c:axId val="769875696"/>
      </c:lineChart>
      <c:catAx>
        <c:axId val="7698623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769875696"/>
        <c:crosses val="autoZero"/>
        <c:auto val="1"/>
        <c:lblAlgn val="ctr"/>
        <c:lblOffset val="100"/>
        <c:tickLblSkip val="12"/>
        <c:tickMarkSkip val="12"/>
        <c:noMultiLvlLbl val="0"/>
      </c:catAx>
      <c:valAx>
        <c:axId val="769875696"/>
        <c:scaling>
          <c:orientation val="minMax"/>
          <c:min val="2500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769862376"/>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23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r>
              <a:rPr lang="en-US" sz="1050">
                <a:latin typeface="Verdana" panose="020B0604030504040204" pitchFamily="34" charset="0"/>
                <a:ea typeface="Verdana" panose="020B0604030504040204" pitchFamily="34" charset="0"/>
                <a:cs typeface="Verdana" panose="020B0604030504040204" pitchFamily="34" charset="0"/>
              </a:rPr>
              <a:t>SKOL</a:t>
            </a: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6F2C89C3-1639-C64F-B7DC-4038F10D3C80}" type="slidenum">
              <a:rPr sz="1050">
                <a:latin typeface="Verdana" panose="020B0604030504040204" pitchFamily="34" charset="0"/>
                <a:ea typeface="Verdana" panose="020B0604030504040204" pitchFamily="34" charset="0"/>
                <a:cs typeface="Verdana" panose="020B0604030504040204" pitchFamily="34" charset="0"/>
              </a:rPr>
              <a:t>‹#›</a:t>
            </a:fld>
            <a:endParaRPr lang="en-US" sz="105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36375265"/>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050">
                <a:latin typeface="Verdana" panose="020B0604030504040204" pitchFamily="34" charset="0"/>
                <a:ea typeface="Verdana" panose="020B0604030504040204" pitchFamily="34" charset="0"/>
                <a:cs typeface="Verdana" panose="020B0604030504040204" pitchFamily="34" charset="0"/>
              </a:defRPr>
            </a:lvl1pPr>
          </a:lstStyle>
          <a:p>
            <a:r>
              <a:rPr lang="fi-FI"/>
              <a:t>SKOL</a:t>
            </a:r>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050">
                <a:latin typeface="Verdana" panose="020B0604030504040204" pitchFamily="34" charset="0"/>
                <a:ea typeface="Verdana" panose="020B0604030504040204" pitchFamily="34" charset="0"/>
                <a:cs typeface="Verdana" panose="020B0604030504040204" pitchFamily="34" charset="0"/>
              </a:defRPr>
            </a:lvl1pPr>
          </a:lstStyle>
          <a:p>
            <a:fld id="{B5A0B3B4-F971-4AD3-B530-DE860EFC07D2}" type="slidenum">
              <a:rPr lang="fi-FI" smtClean="0"/>
              <a:pPr/>
              <a:t>‹#›</a:t>
            </a:fld>
            <a:endParaRPr lang="fi-FI"/>
          </a:p>
        </p:txBody>
      </p:sp>
    </p:spTree>
    <p:extLst>
      <p:ext uri="{BB962C8B-B14F-4D97-AF65-F5344CB8AC3E}">
        <p14:creationId xmlns:p14="http://schemas.microsoft.com/office/powerpoint/2010/main" val="4248243881"/>
      </p:ext>
    </p:extLst>
  </p:cSld>
  <p:clrMap bg1="lt1" tx1="dk1" bg2="lt2" tx2="dk2" accent1="accent1" accent2="accent2" accent3="accent3" accent4="accent4" accent5="accent5" accent6="accent6" hlink="hlink" folHlink="folHlink"/>
  <p:hf/>
  <p:notesStyle>
    <a:lvl1pPr marL="0"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79871"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19807"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359744"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699681" algn="l" defTabSz="679871" rtl="0" eaLnBrk="1" latinLnBrk="0" hangingPunct="1">
      <a:defRPr sz="893" kern="1200">
        <a:solidFill>
          <a:schemeClr val="tx1"/>
        </a:solidFill>
        <a:latin typeface="+mn-lt"/>
        <a:ea typeface="+mn-ea"/>
        <a:cs typeface="+mn-cs"/>
      </a:defRPr>
    </a:lvl6pPr>
    <a:lvl7pPr marL="2039614" algn="l" defTabSz="679871" rtl="0" eaLnBrk="1" latinLnBrk="0" hangingPunct="1">
      <a:defRPr sz="893" kern="1200">
        <a:solidFill>
          <a:schemeClr val="tx1"/>
        </a:solidFill>
        <a:latin typeface="+mn-lt"/>
        <a:ea typeface="+mn-ea"/>
        <a:cs typeface="+mn-cs"/>
      </a:defRPr>
    </a:lvl7pPr>
    <a:lvl8pPr marL="2379548" algn="l" defTabSz="679871" rtl="0" eaLnBrk="1" latinLnBrk="0" hangingPunct="1">
      <a:defRPr sz="893" kern="1200">
        <a:solidFill>
          <a:schemeClr val="tx1"/>
        </a:solidFill>
        <a:latin typeface="+mn-lt"/>
        <a:ea typeface="+mn-ea"/>
        <a:cs typeface="+mn-cs"/>
      </a:defRPr>
    </a:lvl8pPr>
    <a:lvl9pPr marL="2719486" algn="l" defTabSz="679871" rtl="0" eaLnBrk="1" latinLnBrk="0" hangingPunct="1">
      <a:defRPr sz="893"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ogodia">
    <p:bg>
      <p:bgPr>
        <a:solidFill>
          <a:srgbClr val="85E869"/>
        </a:solidFill>
        <a:effectLst/>
      </p:bgPr>
    </p:bg>
    <p:spTree>
      <p:nvGrpSpPr>
        <p:cNvPr id="1" name=""/>
        <p:cNvGrpSpPr/>
        <p:nvPr/>
      </p:nvGrpSpPr>
      <p:grpSpPr>
        <a:xfrm>
          <a:off x="0" y="0"/>
          <a:ext cx="0" cy="0"/>
          <a:chOff x="0" y="0"/>
          <a:chExt cx="0" cy="0"/>
        </a:xfrm>
      </p:grpSpPr>
      <p:pic>
        <p:nvPicPr>
          <p:cNvPr id="5" name="Kuva 4"/>
          <p:cNvPicPr>
            <a:picLocks noChangeAspect="1"/>
          </p:cNvPicPr>
          <p:nvPr userDrawn="1"/>
        </p:nvPicPr>
        <p:blipFill>
          <a:blip r:embed="rId2"/>
          <a:stretch>
            <a:fillRect/>
          </a:stretch>
        </p:blipFill>
        <p:spPr>
          <a:xfrm>
            <a:off x="3141442" y="1887671"/>
            <a:ext cx="2700558" cy="1307934"/>
          </a:xfrm>
          <a:prstGeom prst="rect">
            <a:avLst/>
          </a:prstGeom>
        </p:spPr>
      </p:pic>
    </p:spTree>
    <p:extLst>
      <p:ext uri="{BB962C8B-B14F-4D97-AF65-F5344CB8AC3E}">
        <p14:creationId xmlns:p14="http://schemas.microsoft.com/office/powerpoint/2010/main" val="115141104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etroli">
    <p:bg>
      <p:bgPr>
        <a:solidFill>
          <a:srgbClr val="0F78B2"/>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C870B0A-5FAA-48CC-9422-68AAC5A5CADB}"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11" name="Tekstin paikkamerkki 2"/>
          <p:cNvSpPr>
            <a:spLocks noGrp="1"/>
          </p:cNvSpPr>
          <p:nvPr>
            <p:ph idx="21"/>
          </p:nvPr>
        </p:nvSpPr>
        <p:spPr>
          <a:xfrm>
            <a:off x="1072800" y="158488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64742819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äliotsikkodia - sininen">
    <p:bg>
      <p:bgPr>
        <a:solidFill>
          <a:srgbClr val="141F94"/>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33A50D0A-99B9-48FE-8B08-047EE10ADBDA}"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406231165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ninen">
    <p:bg>
      <p:bgPr>
        <a:solidFill>
          <a:srgbClr val="141F94"/>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71EF2A4B-BD6C-442B-B37A-933F3A2F5101}"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78139381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äliotsikkodia - violetti">
    <p:bg>
      <p:bgPr>
        <a:solidFill>
          <a:srgbClr val="8A0FA6"/>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AA3CBEF-2865-4434-A020-1FAA7DCEF42D}"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3050194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ioletti">
    <p:bg>
      <p:bgPr>
        <a:solidFill>
          <a:srgbClr val="8A0FA6"/>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04B4512B-9268-4DA6-A4DE-9BAC66E0AE0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376262288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äliotsikkodia - pinkki">
    <p:bg>
      <p:bgPr>
        <a:solidFill>
          <a:srgbClr val="FF00B8"/>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4"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5"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7"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AF34066-C849-43D6-AD11-EC5B4E0FCE81}" type="datetime1">
              <a:rPr lang="fi-FI" smtClean="0"/>
              <a:t>7.10.2024</a:t>
            </a:fld>
            <a:endParaRPr lang="fi-FI"/>
          </a:p>
        </p:txBody>
      </p:sp>
      <p:sp>
        <p:nvSpPr>
          <p:cNvPr id="18"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08088662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inkki">
    <p:bg>
      <p:bgPr>
        <a:solidFill>
          <a:srgbClr val="FF00B8"/>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1DAFD31-6E2D-43E4-B45F-A91916303127}"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15042171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äliotsikkodia - mandariini">
    <p:bg>
      <p:bgPr>
        <a:solidFill>
          <a:srgbClr val="FF805C"/>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05A29F8-3631-43D8-937B-CB2D984A1FF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64181846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mandariini">
    <p:bg>
      <p:bgPr>
        <a:solidFill>
          <a:srgbClr val="FF805C"/>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A1FFB15-5351-4C69-B4D2-8C0154A2BCA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1745300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äliotsikkodia - sitruuna">
    <p:bg>
      <p:bgPr>
        <a:solidFill>
          <a:srgbClr val="FFFF00"/>
        </a:solidFill>
        <a:effectLst/>
      </p:bgPr>
    </p:bg>
    <p:spTree>
      <p:nvGrpSpPr>
        <p:cNvPr id="1" name=""/>
        <p:cNvGrpSpPr/>
        <p:nvPr/>
      </p:nvGrpSpPr>
      <p:grpSpPr>
        <a:xfrm>
          <a:off x="0" y="0"/>
          <a:ext cx="0" cy="0"/>
          <a:chOff x="0" y="0"/>
          <a:chExt cx="0" cy="0"/>
        </a:xfrm>
      </p:grpSpPr>
      <p:pic>
        <p:nvPicPr>
          <p:cNvPr id="9" name="Kuva 8"/>
          <p:cNvPicPr>
            <a:picLocks noChangeAspect="1"/>
          </p:cNvPicPr>
          <p:nvPr userDrawn="1"/>
        </p:nvPicPr>
        <p:blipFill>
          <a:blip r:embed="rId2"/>
          <a:stretch>
            <a:fillRect/>
          </a:stretch>
        </p:blipFill>
        <p:spPr>
          <a:xfrm>
            <a:off x="8335624" y="368923"/>
            <a:ext cx="437056" cy="437032"/>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rgbClr val="000000"/>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0F905F96-8735-44CC-A79D-9FF4592D6200}"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Tree>
    <p:extLst>
      <p:ext uri="{BB962C8B-B14F-4D97-AF65-F5344CB8AC3E}">
        <p14:creationId xmlns:p14="http://schemas.microsoft.com/office/powerpoint/2010/main" val="549499557"/>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tsikkodi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881898"/>
            <a:ext cx="6977283" cy="1165268"/>
          </a:xfrm>
          <a:prstGeom prst="rect">
            <a:avLst/>
          </a:prstGeom>
        </p:spPr>
        <p:txBody>
          <a:bodyPr>
            <a:normAutofit/>
          </a:bodyPr>
          <a:lstStyle>
            <a:lvl1pPr marL="10800" indent="0">
              <a:lnSpc>
                <a:spcPct val="100000"/>
              </a:lnSpc>
              <a:spcBef>
                <a:spcPts val="0"/>
              </a:spcBef>
              <a:spcAft>
                <a:spcPts val="0"/>
              </a:spcAft>
              <a:buFontTx/>
              <a:buNone/>
              <a:defRPr sz="26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pää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553C366-6A2C-43B9-A437-B827E0484441}"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154039037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truuna">
    <p:bg>
      <p:bgPr>
        <a:solidFill>
          <a:srgbClr val="FFFF00"/>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89775427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sältödia tekst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1F9AB61F-25F5-4BAC-AFD2-7CF6AA8759C3}"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21" name="Tekstin paikkamerkki 2"/>
          <p:cNvSpPr>
            <a:spLocks noGrp="1"/>
          </p:cNvSpPr>
          <p:nvPr>
            <p:ph idx="19"/>
          </p:nvPr>
        </p:nvSpPr>
        <p:spPr>
          <a:xfrm>
            <a:off x="1072800" y="1582404"/>
            <a:ext cx="7171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2" name="Tekstin paikkamerkki 28"/>
          <p:cNvSpPr>
            <a:spLocks noGrp="1"/>
          </p:cNvSpPr>
          <p:nvPr>
            <p:ph type="body" sz="quarter" idx="20"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6329016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sältödia tekstille 2-palstaa">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4E9C680B-B035-4481-9C89-9B8DCFA07DE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idx="1"/>
          </p:nvPr>
        </p:nvSpPr>
        <p:spPr>
          <a:xfrm>
            <a:off x="4449254" y="1565735"/>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17"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8"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53580326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A">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26EC10B7-6068-4592-8DF6-C21B5E16914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8" name="Tekstin paikkamerkki 2"/>
          <p:cNvSpPr>
            <a:spLocks noGrp="1"/>
          </p:cNvSpPr>
          <p:nvPr>
            <p:ph idx="19"/>
          </p:nvPr>
        </p:nvSpPr>
        <p:spPr>
          <a:xfrm>
            <a:off x="1072800" y="1584553"/>
            <a:ext cx="55296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55296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Kuvan paikkamerkki 6"/>
          <p:cNvSpPr>
            <a:spLocks noGrp="1"/>
          </p:cNvSpPr>
          <p:nvPr>
            <p:ph type="pic" sz="quarter" idx="20"/>
          </p:nvPr>
        </p:nvSpPr>
        <p:spPr>
          <a:xfrm>
            <a:off x="6775200" y="0"/>
            <a:ext cx="23688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12"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78566840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B">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B470C21F-BEA7-4001-A59E-ED99F75C48EF}"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9" name="Kuvan paikkamerkki 6"/>
          <p:cNvSpPr>
            <a:spLocks noGrp="1"/>
          </p:cNvSpPr>
          <p:nvPr>
            <p:ph type="pic" sz="quarter" idx="20"/>
          </p:nvPr>
        </p:nvSpPr>
        <p:spPr>
          <a:xfrm>
            <a:off x="5090400" y="0"/>
            <a:ext cx="4053606"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8" name="Tekstin paikkamerkki 2"/>
          <p:cNvSpPr>
            <a:spLocks noGrp="1"/>
          </p:cNvSpPr>
          <p:nvPr>
            <p:ph idx="19"/>
          </p:nvPr>
        </p:nvSpPr>
        <p:spPr>
          <a:xfrm>
            <a:off x="1072800" y="158455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0"/>
              </a:spcBef>
              <a:spcAft>
                <a:spcPts val="7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38448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
        <p:nvSpPr>
          <p:cNvPr id="10"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303216163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sältödia pelkälle kuvalle">
    <p:spTree>
      <p:nvGrpSpPr>
        <p:cNvPr id="1" name=""/>
        <p:cNvGrpSpPr/>
        <p:nvPr/>
      </p:nvGrpSpPr>
      <p:grpSpPr>
        <a:xfrm>
          <a:off x="0" y="0"/>
          <a:ext cx="0" cy="0"/>
          <a:chOff x="0" y="0"/>
          <a:chExt cx="0" cy="0"/>
        </a:xfrm>
      </p:grpSpPr>
      <p:sp>
        <p:nvSpPr>
          <p:cNvPr id="19" name="Kuvan paikkamerkki 6"/>
          <p:cNvSpPr>
            <a:spLocks noGrp="1"/>
          </p:cNvSpPr>
          <p:nvPr>
            <p:ph type="pic" sz="quarter" idx="20"/>
          </p:nvPr>
        </p:nvSpPr>
        <p:spPr>
          <a:xfrm>
            <a:off x="0" y="0"/>
            <a:ext cx="91440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Tree>
    <p:extLst>
      <p:ext uri="{BB962C8B-B14F-4D97-AF65-F5344CB8AC3E}">
        <p14:creationId xmlns:p14="http://schemas.microsoft.com/office/powerpoint/2010/main" val="96411705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sältödia tauluko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type="body" sz="quarter" idx="23"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1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0" name="Sisällön paikkamerkki 4"/>
          <p:cNvSpPr>
            <a:spLocks noGrp="1"/>
          </p:cNvSpPr>
          <p:nvPr>
            <p:ph sz="quarter" idx="17"/>
          </p:nvPr>
        </p:nvSpPr>
        <p:spPr>
          <a:xfrm>
            <a:off x="1201739" y="1584200"/>
            <a:ext cx="6739862" cy="3010469"/>
          </a:xfrm>
        </p:spPr>
        <p:txBody>
          <a:bodyPr/>
          <a:lstStyle>
            <a:lvl1pPr marL="241200" indent="-212400">
              <a:buFont typeface="Arial" panose="020B0604020202020204" pitchFamily="34" charset="0"/>
              <a:buChar char="•"/>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2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25" name="Päivämäärän paikkamerkki 1"/>
          <p:cNvSpPr>
            <a:spLocks noGrp="1"/>
          </p:cNvSpPr>
          <p:nvPr>
            <p:ph type="dt" sz="half" idx="10"/>
          </p:nvPr>
        </p:nvSpPr>
        <p:spPr>
          <a:xfrm>
            <a:off x="282027" y="4728047"/>
            <a:ext cx="916709" cy="164690"/>
          </a:xfrm>
        </p:spPr>
        <p:txBody>
          <a:bodyPr/>
          <a:lstStyle/>
          <a:p>
            <a:fld id="{C26F1C2C-1F3D-4324-8DB1-2B3A728EB293}" type="datetime1">
              <a:rPr lang="fi-FI" smtClean="0"/>
              <a:t>7.10.2024</a:t>
            </a:fld>
            <a:endParaRPr lang="fi-FI"/>
          </a:p>
        </p:txBody>
      </p:sp>
      <p:sp>
        <p:nvSpPr>
          <p:cNvPr id="26" name="Alatunnisteen paikkamerkki 2"/>
          <p:cNvSpPr>
            <a:spLocks noGrp="1"/>
          </p:cNvSpPr>
          <p:nvPr>
            <p:ph type="ftr" sz="quarter" idx="11"/>
          </p:nvPr>
        </p:nvSpPr>
        <p:spPr>
          <a:xfrm>
            <a:off x="1111510" y="4728047"/>
            <a:ext cx="1295891" cy="164690"/>
          </a:xfrm>
        </p:spPr>
        <p:txBody>
          <a:bodyPr/>
          <a:lstStyle/>
          <a:p>
            <a:r>
              <a:rPr lang="fi-FI"/>
              <a:t>SKOL</a:t>
            </a:r>
          </a:p>
        </p:txBody>
      </p:sp>
    </p:spTree>
    <p:extLst>
      <p:ext uri="{BB962C8B-B14F-4D97-AF65-F5344CB8AC3E}">
        <p14:creationId xmlns:p14="http://schemas.microsoft.com/office/powerpoint/2010/main" val="87594283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sältödia tekstille ja tauluko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00B1868B-515C-4A84-A79A-DDEC623D6CDB}"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1"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3" name="Sisällön paikkamerkki 4"/>
          <p:cNvSpPr>
            <a:spLocks noGrp="1"/>
          </p:cNvSpPr>
          <p:nvPr>
            <p:ph sz="quarter" idx="23" hasCustomPrompt="1"/>
          </p:nvPr>
        </p:nvSpPr>
        <p:spPr>
          <a:xfrm>
            <a:off x="4572001" y="1584200"/>
            <a:ext cx="3369600" cy="2892550"/>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Lisää objekti</a:t>
            </a:r>
          </a:p>
        </p:txBody>
      </p:sp>
      <p:sp>
        <p:nvSpPr>
          <p:cNvPr id="12"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68738636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sältödia isoille taulukoille">
    <p:spTree>
      <p:nvGrpSpPr>
        <p:cNvPr id="1" name=""/>
        <p:cNvGrpSpPr/>
        <p:nvPr/>
      </p:nvGrpSpPr>
      <p:grpSpPr>
        <a:xfrm>
          <a:off x="0" y="0"/>
          <a:ext cx="0" cy="0"/>
          <a:chOff x="0" y="0"/>
          <a:chExt cx="0" cy="0"/>
        </a:xfrm>
      </p:grpSpPr>
      <p:sp>
        <p:nvSpPr>
          <p:cNvPr id="30" name="Tekstin paikkamerkki 28"/>
          <p:cNvSpPr>
            <a:spLocks noGrp="1"/>
          </p:cNvSpPr>
          <p:nvPr>
            <p:ph type="body" sz="quarter" idx="15" hasCustomPrompt="1"/>
          </p:nvPr>
        </p:nvSpPr>
        <p:spPr>
          <a:xfrm>
            <a:off x="252000" y="282150"/>
            <a:ext cx="7992000" cy="648000"/>
          </a:xfrm>
          <a:prstGeom prst="rect">
            <a:avLst/>
          </a:prstGeom>
        </p:spPr>
        <p:txBody>
          <a:bodyPr/>
          <a:lstStyle>
            <a:lvl1pPr marL="14400" indent="0">
              <a:lnSpc>
                <a:spcPts val="2700"/>
              </a:lnSpc>
              <a:spcAft>
                <a:spcPts val="0"/>
              </a:spcAft>
              <a:buFontTx/>
              <a:buNone/>
              <a:defRPr sz="2200" b="1">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5" name="Sisällön paikkamerkki 4"/>
          <p:cNvSpPr>
            <a:spLocks noGrp="1"/>
          </p:cNvSpPr>
          <p:nvPr>
            <p:ph sz="quarter" idx="17"/>
          </p:nvPr>
        </p:nvSpPr>
        <p:spPr>
          <a:xfrm>
            <a:off x="381000" y="1103313"/>
            <a:ext cx="8391525" cy="3541712"/>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Tree>
    <p:extLst>
      <p:ext uri="{BB962C8B-B14F-4D97-AF65-F5344CB8AC3E}">
        <p14:creationId xmlns:p14="http://schemas.microsoft.com/office/powerpoint/2010/main" val="106746017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yhjä dia">
    <p:spTree>
      <p:nvGrpSpPr>
        <p:cNvPr id="1" name=""/>
        <p:cNvGrpSpPr/>
        <p:nvPr/>
      </p:nvGrpSpPr>
      <p:grpSpPr>
        <a:xfrm>
          <a:off x="0" y="0"/>
          <a:ext cx="0" cy="0"/>
          <a:chOff x="0" y="0"/>
          <a:chExt cx="0" cy="0"/>
        </a:xfrm>
      </p:grpSpPr>
      <p:pic>
        <p:nvPicPr>
          <p:cNvPr id="2" name="Kuva 1"/>
          <p:cNvPicPr>
            <a:picLocks noChangeAspect="1"/>
          </p:cNvPicPr>
          <p:nvPr userDrawn="1"/>
        </p:nvPicPr>
        <p:blipFill>
          <a:blip r:embed="rId2"/>
          <a:stretch>
            <a:fillRect/>
          </a:stretch>
        </p:blipFill>
        <p:spPr>
          <a:xfrm>
            <a:off x="8335624" y="368923"/>
            <a:ext cx="437056" cy="437032"/>
          </a:xfrm>
          <a:prstGeom prst="rect">
            <a:avLst/>
          </a:prstGeom>
        </p:spPr>
      </p:pic>
      <p:sp>
        <p:nvSpPr>
          <p:cNvPr id="3"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4"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5"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7"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358328588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ogodia">
    <p:bg>
      <p:bgRef idx="1001">
        <a:schemeClr val="bg1"/>
      </p:bgRef>
    </p:bg>
    <p:spTree>
      <p:nvGrpSpPr>
        <p:cNvPr id="1" name=""/>
        <p:cNvGrpSpPr/>
        <p:nvPr/>
      </p:nvGrpSpPr>
      <p:grpSpPr>
        <a:xfrm>
          <a:off x="0" y="0"/>
          <a:ext cx="0" cy="0"/>
          <a:chOff x="0" y="0"/>
          <a:chExt cx="0" cy="0"/>
        </a:xfrm>
      </p:grpSpPr>
      <p:pic>
        <p:nvPicPr>
          <p:cNvPr id="5" name="Kuva 4"/>
          <p:cNvPicPr>
            <a:picLocks noChangeAspect="1"/>
          </p:cNvPicPr>
          <p:nvPr userDrawn="1"/>
        </p:nvPicPr>
        <p:blipFill>
          <a:blip r:embed="rId2"/>
          <a:stretch>
            <a:fillRect/>
          </a:stretch>
        </p:blipFill>
        <p:spPr>
          <a:xfrm>
            <a:off x="3141442" y="1887671"/>
            <a:ext cx="2700558" cy="1307934"/>
          </a:xfrm>
          <a:prstGeom prst="rect">
            <a:avLst/>
          </a:prstGeom>
        </p:spPr>
      </p:pic>
    </p:spTree>
    <p:extLst>
      <p:ext uri="{BB962C8B-B14F-4D97-AF65-F5344CB8AC3E}">
        <p14:creationId xmlns:p14="http://schemas.microsoft.com/office/powerpoint/2010/main" val="19574721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äliotsikkodia - valkoinen">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8D9E7F89-CFBC-40A6-849E-791F2CE17670}"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1" name="Tekstin paikkamerkki 28"/>
          <p:cNvSpPr>
            <a:spLocks noGrp="1"/>
          </p:cNvSpPr>
          <p:nvPr>
            <p:ph type="body" sz="quarter" idx="22" hasCustomPrompt="1"/>
          </p:nvPr>
        </p:nvSpPr>
        <p:spPr>
          <a:xfrm>
            <a:off x="1072800" y="1913747"/>
            <a:ext cx="7171200" cy="1176411"/>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2207341520"/>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alkoinen">
    <p:bg>
      <p:bgPr>
        <a:solidFill>
          <a:schemeClr val="bg1"/>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02188674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godia">
    <p:bg>
      <p:bgPr>
        <a:solidFill>
          <a:srgbClr val="85E869"/>
        </a:solidFill>
        <a:effectLst/>
      </p:bgPr>
    </p:bg>
    <p:spTree>
      <p:nvGrpSpPr>
        <p:cNvPr id="1" name=""/>
        <p:cNvGrpSpPr/>
        <p:nvPr/>
      </p:nvGrpSpPr>
      <p:grpSpPr>
        <a:xfrm>
          <a:off x="0" y="0"/>
          <a:ext cx="0" cy="0"/>
          <a:chOff x="0" y="0"/>
          <a:chExt cx="0" cy="0"/>
        </a:xfrm>
      </p:grpSpPr>
      <p:pic>
        <p:nvPicPr>
          <p:cNvPr id="5" name="Kuva 4"/>
          <p:cNvPicPr>
            <a:picLocks noChangeAspect="1"/>
          </p:cNvPicPr>
          <p:nvPr userDrawn="1"/>
        </p:nvPicPr>
        <p:blipFill>
          <a:blip r:embed="rId2"/>
          <a:stretch>
            <a:fillRect/>
          </a:stretch>
        </p:blipFill>
        <p:spPr>
          <a:xfrm>
            <a:off x="3141442" y="1887671"/>
            <a:ext cx="2700558" cy="1307934"/>
          </a:xfrm>
          <a:prstGeom prst="rect">
            <a:avLst/>
          </a:prstGeom>
        </p:spPr>
      </p:pic>
    </p:spTree>
    <p:extLst>
      <p:ext uri="{BB962C8B-B14F-4D97-AF65-F5344CB8AC3E}">
        <p14:creationId xmlns:p14="http://schemas.microsoft.com/office/powerpoint/2010/main" val="4255404427"/>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tsikkodi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881898"/>
            <a:ext cx="6977283" cy="1165268"/>
          </a:xfrm>
          <a:prstGeom prst="rect">
            <a:avLst/>
          </a:prstGeom>
        </p:spPr>
        <p:txBody>
          <a:bodyPr>
            <a:normAutofit/>
          </a:bodyPr>
          <a:lstStyle>
            <a:lvl1pPr marL="10800" indent="0">
              <a:lnSpc>
                <a:spcPct val="100000"/>
              </a:lnSpc>
              <a:spcBef>
                <a:spcPts val="0"/>
              </a:spcBef>
              <a:spcAft>
                <a:spcPts val="0"/>
              </a:spcAft>
              <a:buFontTx/>
              <a:buNone/>
              <a:defRPr sz="26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pää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553C366-6A2C-43B9-A437-B827E0484441}"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72901700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äliotsikkodia - omen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B4C9FC2-AB49-4BC7-8E34-F35776C6F0E4}"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94934347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omena">
    <p:bg>
      <p:bgPr>
        <a:solidFill>
          <a:srgbClr val="85E869"/>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BFD90D18-063C-4F97-88EB-7B998FCF1C84}"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5"/>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22368569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äliotsikkodia - turkoosi">
    <p:bg>
      <p:bgPr>
        <a:solidFill>
          <a:srgbClr val="0ACFCF"/>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BD49F65-936D-47C1-B476-B10D0AC9DEC4}"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76083533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turkoosi">
    <p:bg>
      <p:bgPr>
        <a:solidFill>
          <a:srgbClr val="0ACFCF"/>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8E114E9B-AF34-462B-9107-FB4A4FE20955}"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3052"/>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02503290"/>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äliotsikkodia - petroli">
    <p:bg>
      <p:bgPr>
        <a:solidFill>
          <a:srgbClr val="0F78B2"/>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7D0C29F-D373-4791-88C9-86C29F06AD8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60681363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etroli">
    <p:bg>
      <p:bgPr>
        <a:solidFill>
          <a:srgbClr val="0F78B2"/>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C870B0A-5FAA-48CC-9422-68AAC5A5CADB}"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11" name="Tekstin paikkamerkki 2"/>
          <p:cNvSpPr>
            <a:spLocks noGrp="1"/>
          </p:cNvSpPr>
          <p:nvPr>
            <p:ph idx="21"/>
          </p:nvPr>
        </p:nvSpPr>
        <p:spPr>
          <a:xfrm>
            <a:off x="1072800" y="158488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00053314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Otsikkodia">
    <p:bg>
      <p:bgRef idx="1001">
        <a:schemeClr val="bg1"/>
      </p:bgRef>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881898"/>
            <a:ext cx="6977283" cy="1165268"/>
          </a:xfrm>
          <a:prstGeom prst="rect">
            <a:avLst/>
          </a:prstGeom>
        </p:spPr>
        <p:txBody>
          <a:bodyPr>
            <a:normAutofit/>
          </a:bodyPr>
          <a:lstStyle>
            <a:lvl1pPr marL="10800" indent="0">
              <a:lnSpc>
                <a:spcPct val="100000"/>
              </a:lnSpc>
              <a:spcBef>
                <a:spcPts val="0"/>
              </a:spcBef>
              <a:spcAft>
                <a:spcPts val="0"/>
              </a:spcAft>
              <a:buFontTx/>
              <a:buNone/>
              <a:defRPr sz="2600" b="1" baseline="0">
                <a:solidFill>
                  <a:schemeClr val="tx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pää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553C366-6A2C-43B9-A437-B827E0484441}"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67344255"/>
      </p:ext>
    </p:extLst>
  </p:cSld>
  <p:clrMapOvr>
    <a:overrideClrMapping bg1="dk1" tx1="lt1" bg2="dk2" tx2="lt2" accent1="accent1" accent2="accent2" accent3="accent3" accent4="accent4" accent5="accent5" accent6="accent6" hlink="hlink" folHlink="folHlink"/>
  </p:clrMapOvr>
  <p:transition spd="med">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äliotsikkodia - sininen">
    <p:bg>
      <p:bgPr>
        <a:solidFill>
          <a:srgbClr val="141F94"/>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33A50D0A-99B9-48FE-8B08-047EE10ADBDA}"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83021399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ninen">
    <p:bg>
      <p:bgPr>
        <a:solidFill>
          <a:srgbClr val="141F94"/>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71EF2A4B-BD6C-442B-B37A-933F3A2F5101}"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510793697"/>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äliotsikkodia - violetti">
    <p:bg>
      <p:bgPr>
        <a:solidFill>
          <a:srgbClr val="8A0FA6"/>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AA3CBEF-2865-4434-A020-1FAA7DCEF42D}"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385411528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ioletti">
    <p:bg>
      <p:bgPr>
        <a:solidFill>
          <a:srgbClr val="8A0FA6"/>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04B4512B-9268-4DA6-A4DE-9BAC66E0AE0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352921005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äliotsikkodia - pinkki">
    <p:bg>
      <p:bgPr>
        <a:solidFill>
          <a:srgbClr val="FF00B8"/>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4"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5"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7"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AF34066-C849-43D6-AD11-EC5B4E0FCE81}" type="datetime1">
              <a:rPr lang="fi-FI" smtClean="0"/>
              <a:t>7.10.2024</a:t>
            </a:fld>
            <a:endParaRPr lang="fi-FI"/>
          </a:p>
        </p:txBody>
      </p:sp>
      <p:sp>
        <p:nvSpPr>
          <p:cNvPr id="18"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2053075840"/>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inkki">
    <p:bg>
      <p:bgPr>
        <a:solidFill>
          <a:srgbClr val="FF00B8"/>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91DAFD31-6E2D-43E4-B45F-A91916303127}"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54552423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äliotsikkodia - mandariini">
    <p:bg>
      <p:bgPr>
        <a:solidFill>
          <a:srgbClr val="FF805C"/>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05A29F8-3631-43D8-937B-CB2D984A1FF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71727926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mandariini">
    <p:bg>
      <p:bgPr>
        <a:solidFill>
          <a:srgbClr val="FF805C"/>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5A1FFB15-5351-4C69-B4D2-8C0154A2BCAF}"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91000343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äliotsikkodia - sitruuna">
    <p:bg>
      <p:bgPr>
        <a:solidFill>
          <a:srgbClr val="FFFF00"/>
        </a:solidFill>
        <a:effectLst/>
      </p:bgPr>
    </p:bg>
    <p:spTree>
      <p:nvGrpSpPr>
        <p:cNvPr id="1" name=""/>
        <p:cNvGrpSpPr/>
        <p:nvPr/>
      </p:nvGrpSpPr>
      <p:grpSpPr>
        <a:xfrm>
          <a:off x="0" y="0"/>
          <a:ext cx="0" cy="0"/>
          <a:chOff x="0" y="0"/>
          <a:chExt cx="0" cy="0"/>
        </a:xfrm>
      </p:grpSpPr>
      <p:pic>
        <p:nvPicPr>
          <p:cNvPr id="9" name="Kuva 8"/>
          <p:cNvPicPr>
            <a:picLocks noChangeAspect="1"/>
          </p:cNvPicPr>
          <p:nvPr userDrawn="1"/>
        </p:nvPicPr>
        <p:blipFill>
          <a:blip r:embed="rId2"/>
          <a:stretch>
            <a:fillRect/>
          </a:stretch>
        </p:blipFill>
        <p:spPr>
          <a:xfrm>
            <a:off x="8335624" y="368923"/>
            <a:ext cx="437056" cy="437032"/>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rgbClr val="000000"/>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0F905F96-8735-44CC-A79D-9FF4592D6200}"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Tree>
    <p:extLst>
      <p:ext uri="{BB962C8B-B14F-4D97-AF65-F5344CB8AC3E}">
        <p14:creationId xmlns:p14="http://schemas.microsoft.com/office/powerpoint/2010/main" val="188436803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truuna">
    <p:bg>
      <p:bgPr>
        <a:solidFill>
          <a:srgbClr val="FFFF00"/>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152096136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äliotsikkodia - omena">
    <p:bg>
      <p:bgPr>
        <a:solidFill>
          <a:srgbClr val="85E869"/>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AB4C9FC2-AB49-4BC7-8E34-F35776C6F0E4}"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166785004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sältödia tekst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1F9AB61F-25F5-4BAC-AFD2-7CF6AA8759C3}"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21" name="Tekstin paikkamerkki 2"/>
          <p:cNvSpPr>
            <a:spLocks noGrp="1"/>
          </p:cNvSpPr>
          <p:nvPr>
            <p:ph idx="19"/>
          </p:nvPr>
        </p:nvSpPr>
        <p:spPr>
          <a:xfrm>
            <a:off x="1072800" y="1582404"/>
            <a:ext cx="7171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2" name="Tekstin paikkamerkki 28"/>
          <p:cNvSpPr>
            <a:spLocks noGrp="1"/>
          </p:cNvSpPr>
          <p:nvPr>
            <p:ph type="body" sz="quarter" idx="20"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320960819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sältödia tekstille 2-palstaa">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4E9C680B-B035-4481-9C89-9B8DCFA07DE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idx="1"/>
          </p:nvPr>
        </p:nvSpPr>
        <p:spPr>
          <a:xfrm>
            <a:off x="4449254" y="1565735"/>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2" name="Tekstin paikkamerkki 28"/>
          <p:cNvSpPr>
            <a:spLocks noGrp="1"/>
          </p:cNvSpPr>
          <p:nvPr>
            <p:ph type="body" sz="quarter" idx="17" hasCustomPrompt="1"/>
          </p:nvPr>
        </p:nvSpPr>
        <p:spPr>
          <a:xfrm>
            <a:off x="1072800" y="1102950"/>
            <a:ext cx="71712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8"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301795487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A">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26EC10B7-6068-4592-8DF6-C21B5E169149}"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8" name="Tekstin paikkamerkki 2"/>
          <p:cNvSpPr>
            <a:spLocks noGrp="1"/>
          </p:cNvSpPr>
          <p:nvPr>
            <p:ph idx="19"/>
          </p:nvPr>
        </p:nvSpPr>
        <p:spPr>
          <a:xfrm>
            <a:off x="1072800" y="1584553"/>
            <a:ext cx="55296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55296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Kuvan paikkamerkki 6"/>
          <p:cNvSpPr>
            <a:spLocks noGrp="1"/>
          </p:cNvSpPr>
          <p:nvPr>
            <p:ph type="pic" sz="quarter" idx="20"/>
          </p:nvPr>
        </p:nvSpPr>
        <p:spPr>
          <a:xfrm>
            <a:off x="6775200" y="0"/>
            <a:ext cx="23688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12"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225594133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B">
    <p:spTree>
      <p:nvGrpSpPr>
        <p:cNvPr id="1" name=""/>
        <p:cNvGrpSpPr/>
        <p:nvPr/>
      </p:nvGrpSpPr>
      <p:grpSpPr>
        <a:xfrm>
          <a:off x="0" y="0"/>
          <a:ext cx="0" cy="0"/>
          <a:chOff x="0" y="0"/>
          <a:chExt cx="0" cy="0"/>
        </a:xfrm>
      </p:grpSpPr>
      <p:sp>
        <p:nvSpPr>
          <p:cNvPr id="15" name="Päivämäärän paikkamerkki 1"/>
          <p:cNvSpPr>
            <a:spLocks noGrp="1"/>
          </p:cNvSpPr>
          <p:nvPr>
            <p:ph type="dt" sz="half" idx="10"/>
          </p:nvPr>
        </p:nvSpPr>
        <p:spPr>
          <a:xfrm>
            <a:off x="282027" y="4728047"/>
            <a:ext cx="916709" cy="164690"/>
          </a:xfrm>
        </p:spPr>
        <p:txBody>
          <a:bodyPr/>
          <a:lstStyle/>
          <a:p>
            <a:fld id="{B470C21F-BEA7-4001-A59E-ED99F75C48EF}"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9" name="Kuvan paikkamerkki 6"/>
          <p:cNvSpPr>
            <a:spLocks noGrp="1"/>
          </p:cNvSpPr>
          <p:nvPr>
            <p:ph type="pic" sz="quarter" idx="20"/>
          </p:nvPr>
        </p:nvSpPr>
        <p:spPr>
          <a:xfrm>
            <a:off x="5090400" y="0"/>
            <a:ext cx="4053606"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8" name="Tekstin paikkamerkki 2"/>
          <p:cNvSpPr>
            <a:spLocks noGrp="1"/>
          </p:cNvSpPr>
          <p:nvPr>
            <p:ph idx="19"/>
          </p:nvPr>
        </p:nvSpPr>
        <p:spPr>
          <a:xfrm>
            <a:off x="1072800" y="158455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0"/>
              </a:spcBef>
              <a:spcAft>
                <a:spcPts val="7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100">
                <a:solidFill>
                  <a:srgbClr val="000000"/>
                </a:solidFill>
              </a:defRPr>
            </a:lvl3pPr>
            <a:lvl4pPr indent="-158400">
              <a:lnSpc>
                <a:spcPts val="1800"/>
              </a:lnSpc>
              <a:spcBef>
                <a:spcPts val="200"/>
              </a:spcBef>
              <a:spcAft>
                <a:spcPts val="200"/>
              </a:spcAft>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9" name="Tekstin paikkamerkki 28"/>
          <p:cNvSpPr>
            <a:spLocks noGrp="1"/>
          </p:cNvSpPr>
          <p:nvPr>
            <p:ph type="body" sz="quarter" idx="21" hasCustomPrompt="1"/>
          </p:nvPr>
        </p:nvSpPr>
        <p:spPr>
          <a:xfrm>
            <a:off x="1072800" y="1104452"/>
            <a:ext cx="3844800" cy="365682"/>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
        <p:nvSpPr>
          <p:cNvPr id="10"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82892961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sältödia pelkälle kuvalle">
    <p:spTree>
      <p:nvGrpSpPr>
        <p:cNvPr id="1" name=""/>
        <p:cNvGrpSpPr/>
        <p:nvPr/>
      </p:nvGrpSpPr>
      <p:grpSpPr>
        <a:xfrm>
          <a:off x="0" y="0"/>
          <a:ext cx="0" cy="0"/>
          <a:chOff x="0" y="0"/>
          <a:chExt cx="0" cy="0"/>
        </a:xfrm>
      </p:grpSpPr>
      <p:sp>
        <p:nvSpPr>
          <p:cNvPr id="19" name="Kuvan paikkamerkki 6"/>
          <p:cNvSpPr>
            <a:spLocks noGrp="1"/>
          </p:cNvSpPr>
          <p:nvPr>
            <p:ph type="pic" sz="quarter" idx="20"/>
          </p:nvPr>
        </p:nvSpPr>
        <p:spPr>
          <a:xfrm>
            <a:off x="0" y="0"/>
            <a:ext cx="91440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Tree>
    <p:extLst>
      <p:ext uri="{BB962C8B-B14F-4D97-AF65-F5344CB8AC3E}">
        <p14:creationId xmlns:p14="http://schemas.microsoft.com/office/powerpoint/2010/main" val="229851683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sältödia taulukoi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1" name="Tekstin paikkamerkki 2"/>
          <p:cNvSpPr>
            <a:spLocks noGrp="1"/>
          </p:cNvSpPr>
          <p:nvPr>
            <p:ph type="body" sz="quarter" idx="23"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1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20" name="Sisällön paikkamerkki 4"/>
          <p:cNvSpPr>
            <a:spLocks noGrp="1"/>
          </p:cNvSpPr>
          <p:nvPr>
            <p:ph sz="quarter" idx="17"/>
          </p:nvPr>
        </p:nvSpPr>
        <p:spPr>
          <a:xfrm>
            <a:off x="1201739" y="1584200"/>
            <a:ext cx="6739862" cy="3010469"/>
          </a:xfrm>
        </p:spPr>
        <p:txBody>
          <a:bodyPr/>
          <a:lstStyle>
            <a:lvl1pPr marL="241200" indent="-212400">
              <a:buFont typeface="Arial" panose="020B0604020202020204" pitchFamily="34" charset="0"/>
              <a:buChar char="•"/>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2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25" name="Päivämäärän paikkamerkki 1"/>
          <p:cNvSpPr>
            <a:spLocks noGrp="1"/>
          </p:cNvSpPr>
          <p:nvPr>
            <p:ph type="dt" sz="half" idx="10"/>
          </p:nvPr>
        </p:nvSpPr>
        <p:spPr>
          <a:xfrm>
            <a:off x="282027" y="4728047"/>
            <a:ext cx="916709" cy="164690"/>
          </a:xfrm>
        </p:spPr>
        <p:txBody>
          <a:bodyPr/>
          <a:lstStyle/>
          <a:p>
            <a:fld id="{C26F1C2C-1F3D-4324-8DB1-2B3A728EB293}" type="datetime1">
              <a:rPr lang="fi-FI" smtClean="0"/>
              <a:t>7.10.2024</a:t>
            </a:fld>
            <a:endParaRPr lang="fi-FI"/>
          </a:p>
        </p:txBody>
      </p:sp>
      <p:sp>
        <p:nvSpPr>
          <p:cNvPr id="26" name="Alatunnisteen paikkamerkki 2"/>
          <p:cNvSpPr>
            <a:spLocks noGrp="1"/>
          </p:cNvSpPr>
          <p:nvPr>
            <p:ph type="ftr" sz="quarter" idx="11"/>
          </p:nvPr>
        </p:nvSpPr>
        <p:spPr>
          <a:xfrm>
            <a:off x="1111510" y="4728047"/>
            <a:ext cx="1295891" cy="164690"/>
          </a:xfrm>
        </p:spPr>
        <p:txBody>
          <a:bodyPr/>
          <a:lstStyle/>
          <a:p>
            <a:r>
              <a:rPr lang="fi-FI"/>
              <a:t>SKOL</a:t>
            </a:r>
          </a:p>
        </p:txBody>
      </p:sp>
    </p:spTree>
    <p:extLst>
      <p:ext uri="{BB962C8B-B14F-4D97-AF65-F5344CB8AC3E}">
        <p14:creationId xmlns:p14="http://schemas.microsoft.com/office/powerpoint/2010/main" val="319616496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sältödia tekstille ja taulukolle">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00B1868B-515C-4A84-A79A-DDEC623D6CDB}"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
        <p:nvSpPr>
          <p:cNvPr id="9" name="Tekstin paikkamerkki 28"/>
          <p:cNvSpPr>
            <a:spLocks noGrp="1"/>
          </p:cNvSpPr>
          <p:nvPr>
            <p:ph type="body" sz="quarter" idx="21" hasCustomPrompt="1"/>
          </p:nvPr>
        </p:nvSpPr>
        <p:spPr>
          <a:xfrm>
            <a:off x="1072799" y="1102950"/>
            <a:ext cx="6868801"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1"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
        <p:nvSpPr>
          <p:cNvPr id="13" name="Sisällön paikkamerkki 4"/>
          <p:cNvSpPr>
            <a:spLocks noGrp="1"/>
          </p:cNvSpPr>
          <p:nvPr>
            <p:ph sz="quarter" idx="23" hasCustomPrompt="1"/>
          </p:nvPr>
        </p:nvSpPr>
        <p:spPr>
          <a:xfrm>
            <a:off x="4572001" y="1584200"/>
            <a:ext cx="3369600" cy="2892550"/>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Lisää objekti</a:t>
            </a:r>
          </a:p>
        </p:txBody>
      </p:sp>
      <p:sp>
        <p:nvSpPr>
          <p:cNvPr id="12" name="Tekstin paikkamerkki 2"/>
          <p:cNvSpPr>
            <a:spLocks noGrp="1"/>
          </p:cNvSpPr>
          <p:nvPr>
            <p:ph idx="19"/>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lnSpc>
                <a:spcPts val="1800"/>
              </a:lnSpc>
              <a:spcBef>
                <a:spcPts val="200"/>
              </a:spcBef>
              <a:spcAft>
                <a:spcPts val="200"/>
              </a:spcAft>
              <a:buSzPct val="125000"/>
              <a:defRPr sz="1300" baseline="0">
                <a:solidFill>
                  <a:srgbClr val="000000"/>
                </a:solidFill>
              </a:defRPr>
            </a:lvl2pPr>
            <a:lvl3pPr indent="-158400">
              <a:lnSpc>
                <a:spcPts val="1800"/>
              </a:lnSpc>
              <a:spcBef>
                <a:spcPts val="200"/>
              </a:spcBef>
              <a:spcAft>
                <a:spcPts val="200"/>
              </a:spcAft>
              <a:buSzPct val="125000"/>
              <a:defRPr sz="1050">
                <a:solidFill>
                  <a:srgbClr val="000000"/>
                </a:solidFill>
              </a:defRPr>
            </a:lvl3pPr>
            <a:lvl4pPr indent="-158400">
              <a:lnSpc>
                <a:spcPts val="1800"/>
              </a:lnSpc>
              <a:spcBef>
                <a:spcPts val="200"/>
              </a:spcBef>
              <a:spcAft>
                <a:spcPts val="200"/>
              </a:spcAft>
              <a:buSzPct val="125000"/>
              <a:defRPr sz="105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172449831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sältödia isoille taulukoille">
    <p:spTree>
      <p:nvGrpSpPr>
        <p:cNvPr id="1" name=""/>
        <p:cNvGrpSpPr/>
        <p:nvPr/>
      </p:nvGrpSpPr>
      <p:grpSpPr>
        <a:xfrm>
          <a:off x="0" y="0"/>
          <a:ext cx="0" cy="0"/>
          <a:chOff x="0" y="0"/>
          <a:chExt cx="0" cy="0"/>
        </a:xfrm>
      </p:grpSpPr>
      <p:sp>
        <p:nvSpPr>
          <p:cNvPr id="30" name="Tekstin paikkamerkki 28"/>
          <p:cNvSpPr>
            <a:spLocks noGrp="1"/>
          </p:cNvSpPr>
          <p:nvPr>
            <p:ph type="body" sz="quarter" idx="15" hasCustomPrompt="1"/>
          </p:nvPr>
        </p:nvSpPr>
        <p:spPr>
          <a:xfrm>
            <a:off x="252000" y="282150"/>
            <a:ext cx="7992000" cy="648000"/>
          </a:xfrm>
          <a:prstGeom prst="rect">
            <a:avLst/>
          </a:prstGeom>
        </p:spPr>
        <p:txBody>
          <a:bodyPr/>
          <a:lstStyle>
            <a:lvl1pPr marL="14400" indent="0">
              <a:lnSpc>
                <a:spcPts val="2700"/>
              </a:lnSpc>
              <a:spcAft>
                <a:spcPts val="0"/>
              </a:spcAft>
              <a:buFontTx/>
              <a:buNone/>
              <a:defRPr sz="2200" b="1">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8"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19"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5" name="Sisällön paikkamerkki 4"/>
          <p:cNvSpPr>
            <a:spLocks noGrp="1"/>
          </p:cNvSpPr>
          <p:nvPr>
            <p:ph sz="quarter" idx="17"/>
          </p:nvPr>
        </p:nvSpPr>
        <p:spPr>
          <a:xfrm>
            <a:off x="381000" y="1103313"/>
            <a:ext cx="8391525" cy="3541712"/>
          </a:xfrm>
        </p:spPr>
        <p:txBody>
          <a:bodyPr/>
          <a:lstStyle>
            <a:lvl1pPr marL="0" indent="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fi-FI"/>
              <a:t>Muokkaa tekstin perustyylejä napsauttamalla</a:t>
            </a:r>
          </a:p>
        </p:txBody>
      </p:sp>
      <p:sp>
        <p:nvSpPr>
          <p:cNvPr id="16" name="Tekstin paikkamerkki 2"/>
          <p:cNvSpPr>
            <a:spLocks noGrp="1"/>
          </p:cNvSpPr>
          <p:nvPr>
            <p:ph type="body" sz="quarter" idx="18" hasCustomPrompt="1"/>
          </p:nvPr>
        </p:nvSpPr>
        <p:spPr>
          <a:xfrm>
            <a:off x="2334682" y="4727574"/>
            <a:ext cx="2971717" cy="165163"/>
          </a:xfrm>
        </p:spPr>
        <p:txBody>
          <a:bodyPr>
            <a:noAutofit/>
          </a:bodyPr>
          <a:lstStyle>
            <a:lvl1pPr marL="0" indent="0">
              <a:lnSpc>
                <a:spcPct val="100000"/>
              </a:lnSpc>
              <a:spcBef>
                <a:spcPts val="0"/>
              </a:spcBef>
              <a:spcAft>
                <a:spcPts val="0"/>
              </a:spcAft>
              <a:buFontTx/>
              <a:buNone/>
              <a:defRPr sz="700" spc="0" baseline="0"/>
            </a:lvl1pPr>
          </a:lstStyle>
          <a:p>
            <a:pPr lvl="0"/>
            <a:r>
              <a:rPr lang="fi-FI"/>
              <a:t>Lähde tähän</a:t>
            </a:r>
          </a:p>
        </p:txBody>
      </p:sp>
    </p:spTree>
    <p:extLst>
      <p:ext uri="{BB962C8B-B14F-4D97-AF65-F5344CB8AC3E}">
        <p14:creationId xmlns:p14="http://schemas.microsoft.com/office/powerpoint/2010/main" val="83620087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yhjä dia">
    <p:spTree>
      <p:nvGrpSpPr>
        <p:cNvPr id="1" name=""/>
        <p:cNvGrpSpPr/>
        <p:nvPr/>
      </p:nvGrpSpPr>
      <p:grpSpPr>
        <a:xfrm>
          <a:off x="0" y="0"/>
          <a:ext cx="0" cy="0"/>
          <a:chOff x="0" y="0"/>
          <a:chExt cx="0" cy="0"/>
        </a:xfrm>
      </p:grpSpPr>
      <p:pic>
        <p:nvPicPr>
          <p:cNvPr id="2" name="Kuva 1"/>
          <p:cNvPicPr>
            <a:picLocks noChangeAspect="1"/>
          </p:cNvPicPr>
          <p:nvPr userDrawn="1"/>
        </p:nvPicPr>
        <p:blipFill>
          <a:blip r:embed="rId2"/>
          <a:stretch>
            <a:fillRect/>
          </a:stretch>
        </p:blipFill>
        <p:spPr>
          <a:xfrm>
            <a:off x="8335624" y="368923"/>
            <a:ext cx="437056" cy="437032"/>
          </a:xfrm>
          <a:prstGeom prst="rect">
            <a:avLst/>
          </a:prstGeom>
        </p:spPr>
      </p:pic>
      <p:sp>
        <p:nvSpPr>
          <p:cNvPr id="3"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4"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7.10.2024</a:t>
            </a:fld>
            <a:endParaRPr lang="fi-FI"/>
          </a:p>
        </p:txBody>
      </p:sp>
      <p:sp>
        <p:nvSpPr>
          <p:cNvPr id="5"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7"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363950177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äliotsikkodia - valkoinen">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15" name="Päivämäärän paikkamerkki 1"/>
          <p:cNvSpPr>
            <a:spLocks noGrp="1"/>
          </p:cNvSpPr>
          <p:nvPr>
            <p:ph type="dt" sz="half" idx="10"/>
          </p:nvPr>
        </p:nvSpPr>
        <p:spPr>
          <a:xfrm>
            <a:off x="282027" y="4728047"/>
            <a:ext cx="916709" cy="164690"/>
          </a:xfrm>
        </p:spPr>
        <p:txBody>
          <a:bodyPr/>
          <a:lstStyle/>
          <a:p>
            <a:fld id="{8D9E7F89-CFBC-40A6-849E-791F2CE17670}" type="datetime1">
              <a:rPr lang="fi-FI" smtClean="0"/>
              <a:t>7.10.2024</a:t>
            </a:fld>
            <a:endParaRPr lang="fi-FI"/>
          </a:p>
        </p:txBody>
      </p:sp>
      <p:sp>
        <p:nvSpPr>
          <p:cNvPr id="17" name="Alatunnisteen paikkamerkki 2"/>
          <p:cNvSpPr>
            <a:spLocks noGrp="1"/>
          </p:cNvSpPr>
          <p:nvPr>
            <p:ph type="ftr" sz="quarter" idx="11"/>
          </p:nvPr>
        </p:nvSpPr>
        <p:spPr>
          <a:xfrm>
            <a:off x="1111510" y="4728047"/>
            <a:ext cx="1295891" cy="164690"/>
          </a:xfrm>
        </p:spPr>
        <p:txBody>
          <a:bodyPr/>
          <a:lstStyle/>
          <a:p>
            <a:r>
              <a:rPr lang="fi-FI"/>
              <a:t>SKOL</a:t>
            </a:r>
          </a:p>
        </p:txBody>
      </p:sp>
      <p:sp>
        <p:nvSpPr>
          <p:cNvPr id="11" name="Tekstin paikkamerkki 28"/>
          <p:cNvSpPr>
            <a:spLocks noGrp="1"/>
          </p:cNvSpPr>
          <p:nvPr>
            <p:ph type="body" sz="quarter" idx="22" hasCustomPrompt="1"/>
          </p:nvPr>
        </p:nvSpPr>
        <p:spPr>
          <a:xfrm>
            <a:off x="1072800" y="1913747"/>
            <a:ext cx="7171200" cy="1176411"/>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Tree>
    <p:extLst>
      <p:ext uri="{BB962C8B-B14F-4D97-AF65-F5344CB8AC3E}">
        <p14:creationId xmlns:p14="http://schemas.microsoft.com/office/powerpoint/2010/main" val="299910167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omena">
    <p:bg>
      <p:bgPr>
        <a:solidFill>
          <a:srgbClr val="85E869"/>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BFD90D18-063C-4F97-88EB-7B998FCF1C84}"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5225"/>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63982625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alkoinen">
    <p:bg>
      <p:bgPr>
        <a:solidFill>
          <a:schemeClr val="bg1"/>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rgbClr val="000000"/>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rgbClr val="000000"/>
                </a:solidFill>
              </a:defRPr>
            </a:lvl1pPr>
          </a:lstStyle>
          <a:p>
            <a:fld id="{4D1D5393-FFB8-4AFB-965F-DF835FFEFFC2}"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rgbClr val="000000"/>
                </a:solidFill>
              </a:defRPr>
            </a:lvl1pPr>
          </a:lstStyle>
          <a:p>
            <a:r>
              <a:rPr lang="fi-FI"/>
              <a:t>SKOL</a:t>
            </a:r>
          </a:p>
        </p:txBody>
      </p:sp>
      <p:sp>
        <p:nvSpPr>
          <p:cNvPr id="7" name="Tekstin paikkamerkki 2"/>
          <p:cNvSpPr>
            <a:spLocks noGrp="1"/>
          </p:cNvSpPr>
          <p:nvPr>
            <p:ph idx="2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a:buSzPct val="125000"/>
              <a:defRPr sz="1300" baseline="0">
                <a:solidFill>
                  <a:srgbClr val="000000"/>
                </a:solidFill>
              </a:defRPr>
            </a:lvl2pPr>
            <a:lvl3pPr indent="-158400">
              <a:buSzPct val="125000"/>
              <a:defRPr sz="1100">
                <a:solidFill>
                  <a:srgbClr val="000000"/>
                </a:solidFill>
              </a:defRPr>
            </a:lvl3pPr>
            <a:lvl4pPr indent="-158400">
              <a:buSzPct val="125000"/>
              <a:defRPr sz="1000">
                <a:solidFill>
                  <a:srgbClr val="000000"/>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419222115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äliotsikkodia - turkoosi">
    <p:bg>
      <p:bgPr>
        <a:solidFill>
          <a:srgbClr val="0ACFCF"/>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BD49F65-936D-47C1-B476-B10D0AC9DEC4}" type="datetime1">
              <a:rPr lang="fi-FI" smtClean="0"/>
              <a:t>7.10.2024</a:t>
            </a:fld>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45695886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turkoosi">
    <p:bg>
      <p:bgPr>
        <a:solidFill>
          <a:srgbClr val="0ACFCF"/>
        </a:solidFill>
        <a:effectLst/>
      </p:bgPr>
    </p:bg>
    <p:spTree>
      <p:nvGrpSpPr>
        <p:cNvPr id="1" name=""/>
        <p:cNvGrpSpPr/>
        <p:nvPr/>
      </p:nvGrpSpPr>
      <p:grpSpPr>
        <a:xfrm>
          <a:off x="0" y="0"/>
          <a:ext cx="0" cy="0"/>
          <a:chOff x="0" y="0"/>
          <a:chExt cx="0" cy="0"/>
        </a:xfrm>
      </p:grpSpPr>
      <p:sp>
        <p:nvSpPr>
          <p:cNvPr id="14" name="Kuvan paikkamerkki 6"/>
          <p:cNvSpPr>
            <a:spLocks noGrp="1"/>
          </p:cNvSpPr>
          <p:nvPr>
            <p:ph type="pic" sz="quarter" idx="18"/>
          </p:nvPr>
        </p:nvSpPr>
        <p:spPr>
          <a:xfrm>
            <a:off x="5090400" y="0"/>
            <a:ext cx="4053605" cy="5143500"/>
          </a:xfrm>
          <a:prstGeom prst="rect">
            <a:avLst/>
          </a:prstGeom>
        </p:spPr>
        <p:txBody>
          <a:bodyPr anchor="ctr"/>
          <a:lstStyle>
            <a:lvl1pPr marL="0" indent="0" algn="ctr">
              <a:buFontTx/>
              <a:buNone/>
              <a:defRPr sz="1500">
                <a:solidFill>
                  <a:schemeClr val="bg1"/>
                </a:solidFill>
              </a:defRPr>
            </a:lvl1pPr>
          </a:lstStyle>
          <a:p>
            <a:r>
              <a:rPr lang="fi-FI"/>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8E114E9B-AF34-462B-9107-FB4A4FE20955}" type="datetime1">
              <a:rPr lang="fi-FI" smtClean="0"/>
              <a:t>7.10.2024</a:t>
            </a:fld>
            <a:endParaRPr lang="fi-FI"/>
          </a:p>
        </p:txBody>
      </p:sp>
      <p:sp>
        <p:nvSpPr>
          <p:cNvPr id="10"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
        <p:nvSpPr>
          <p:cNvPr id="7" name="Tekstin paikkamerkki 2"/>
          <p:cNvSpPr>
            <a:spLocks noGrp="1"/>
          </p:cNvSpPr>
          <p:nvPr>
            <p:ph idx="21"/>
          </p:nvPr>
        </p:nvSpPr>
        <p:spPr>
          <a:xfrm>
            <a:off x="1072800" y="1583052"/>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a:buSzPct val="125000"/>
              <a:defRPr sz="1300" baseline="0">
                <a:solidFill>
                  <a:schemeClr val="bg1"/>
                </a:solidFill>
              </a:defRPr>
            </a:lvl2pPr>
            <a:lvl3pPr indent="-158400">
              <a:buSzPct val="125000"/>
              <a:defRPr sz="1100">
                <a:solidFill>
                  <a:schemeClr val="bg1"/>
                </a:solidFill>
              </a:defRPr>
            </a:lvl3pPr>
            <a:lvl4pPr indent="-158400">
              <a:buSzPct val="125000"/>
              <a:defRPr sz="1000">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8" name="Tekstin paikkamerkki 28"/>
          <p:cNvSpPr>
            <a:spLocks noGrp="1"/>
          </p:cNvSpPr>
          <p:nvPr>
            <p:ph type="body" sz="quarter" idx="22" hasCustomPrompt="1"/>
          </p:nvPr>
        </p:nvSpPr>
        <p:spPr>
          <a:xfrm>
            <a:off x="1072800" y="1102950"/>
            <a:ext cx="3844800" cy="367183"/>
          </a:xfrm>
          <a:prstGeom prst="rect">
            <a:avLst/>
          </a:prstGeom>
        </p:spPr>
        <p:txBody>
          <a:bodyPr/>
          <a:lstStyle>
            <a:lvl1pPr marL="14400" indent="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a:t>
            </a:r>
            <a:r>
              <a:rPr lang="fi-FI" err="1"/>
              <a:t>napsautt</a:t>
            </a:r>
            <a:r>
              <a:rPr lang="fi-FI"/>
              <a:t>.</a:t>
            </a:r>
          </a:p>
        </p:txBody>
      </p:sp>
    </p:spTree>
    <p:extLst>
      <p:ext uri="{BB962C8B-B14F-4D97-AF65-F5344CB8AC3E}">
        <p14:creationId xmlns:p14="http://schemas.microsoft.com/office/powerpoint/2010/main" val="200552848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äliotsikkodia - petroli">
    <p:bg>
      <p:bgPr>
        <a:solidFill>
          <a:srgbClr val="0F78B2"/>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4"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fld id="{F7D0C29F-D373-4791-88C9-86C29F06AD83}" type="datetime1">
              <a:rPr lang="fi-FI" smtClean="0"/>
              <a:t>7.10.2024</a:t>
            </a:fld>
            <a:endParaRPr lang="fi-FI"/>
          </a:p>
        </p:txBody>
      </p:sp>
      <p:sp>
        <p:nvSpPr>
          <p:cNvPr id="15"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r>
              <a:rPr lang="fi-FI"/>
              <a:t>SKOL</a:t>
            </a:r>
          </a:p>
        </p:txBody>
      </p:sp>
    </p:spTree>
    <p:extLst>
      <p:ext uri="{BB962C8B-B14F-4D97-AF65-F5344CB8AC3E}">
        <p14:creationId xmlns:p14="http://schemas.microsoft.com/office/powerpoint/2010/main" val="1747701072"/>
      </p:ext>
    </p:extLst>
  </p:cSld>
  <p:clrMapOvr>
    <a:masterClrMapping/>
  </p:clrMapOvr>
  <p:transition spd="med">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oleObject" Target="../embeddings/oleObject2.bin"/><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3.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7CFC9E-B43F-0659-02DE-D0BAFF356E87}"/>
              </a:ext>
            </a:extLst>
          </p:cNvPr>
          <p:cNvGraphicFramePr>
            <a:graphicFrameLocks noChangeAspect="1"/>
          </p:cNvGraphicFramePr>
          <p:nvPr userDrawn="1">
            <p:custDataLst>
              <p:tags r:id="rId33"/>
            </p:custDataLst>
            <p:extLst>
              <p:ext uri="{D42A27DB-BD31-4B8C-83A1-F6EECF244321}">
                <p14:modId xmlns:p14="http://schemas.microsoft.com/office/powerpoint/2010/main" val="350298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639" imgH="639" progId="TCLayout.ActiveDocument.1">
                  <p:embed/>
                </p:oleObj>
              </mc:Choice>
              <mc:Fallback>
                <p:oleObj name="think-cell Slide" r:id="rId34" imgW="639" imgH="639" progId="TCLayout.ActiveDocument.1">
                  <p:embed/>
                  <p:pic>
                    <p:nvPicPr>
                      <p:cNvPr id="3" name="think-cell data - do not delete" hidden="1">
                        <a:extLst>
                          <a:ext uri="{FF2B5EF4-FFF2-40B4-BE49-F238E27FC236}">
                            <a16:creationId xmlns:a16="http://schemas.microsoft.com/office/drawing/2014/main" id="{0A7CFC9E-B43F-0659-02DE-D0BAFF356E87}"/>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Päivämäärän paikkamerkki 3"/>
          <p:cNvSpPr>
            <a:spLocks noGrp="1"/>
          </p:cNvSpPr>
          <p:nvPr>
            <p:ph type="dt" sz="half" idx="2"/>
          </p:nvPr>
        </p:nvSpPr>
        <p:spPr>
          <a:xfrm>
            <a:off x="282027" y="4728047"/>
            <a:ext cx="919711"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1B16F53B-7158-4458-A0D4-1436C88C6842}" type="datetime1">
              <a:rPr lang="fi-FI" smtClean="0"/>
              <a:t>7.10.2024</a:t>
            </a:fld>
            <a:endParaRPr lang="fi-FI"/>
          </a:p>
        </p:txBody>
      </p:sp>
      <p:sp>
        <p:nvSpPr>
          <p:cNvPr id="8" name="Alatunnisteen paikkamerkki 4"/>
          <p:cNvSpPr>
            <a:spLocks noGrp="1"/>
          </p:cNvSpPr>
          <p:nvPr>
            <p:ph type="ftr" sz="quarter" idx="3"/>
          </p:nvPr>
        </p:nvSpPr>
        <p:spPr>
          <a:xfrm>
            <a:off x="1111307" y="4728047"/>
            <a:ext cx="1296094"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i-FI"/>
              <a:t>SKOL</a:t>
            </a:r>
          </a:p>
        </p:txBody>
      </p:sp>
      <p:sp>
        <p:nvSpPr>
          <p:cNvPr id="26" name="Tekstin paikkamerkki 3"/>
          <p:cNvSpPr>
            <a:spLocks noGrp="1"/>
          </p:cNvSpPr>
          <p:nvPr>
            <p:ph type="body" idx="1"/>
          </p:nvPr>
        </p:nvSpPr>
        <p:spPr>
          <a:xfrm>
            <a:off x="1072801" y="1583532"/>
            <a:ext cx="7171199" cy="289321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7" name="Otsikon paikkamerkki 2"/>
          <p:cNvSpPr>
            <a:spLocks noGrp="1"/>
          </p:cNvSpPr>
          <p:nvPr>
            <p:ph type="title"/>
          </p:nvPr>
        </p:nvSpPr>
        <p:spPr>
          <a:xfrm>
            <a:off x="1072801" y="1102950"/>
            <a:ext cx="7171199" cy="367183"/>
          </a:xfrm>
          <a:prstGeom prst="rect">
            <a:avLst/>
          </a:prstGeom>
        </p:spPr>
        <p:txBody>
          <a:bodyPr vert="horz" lIns="91440" tIns="45720" rIns="91440" bIns="45720" rtlCol="0" anchor="t">
            <a:normAutofit/>
          </a:bodyPr>
          <a:lstStyle/>
          <a:p>
            <a:r>
              <a:rPr lang="fi-FI"/>
              <a:t>Muokkaa </a:t>
            </a:r>
            <a:r>
              <a:rPr lang="fi-FI" err="1"/>
              <a:t>perustyyl</a:t>
            </a:r>
            <a:r>
              <a:rPr lang="fi-FI"/>
              <a:t>. </a:t>
            </a:r>
            <a:r>
              <a:rPr lang="fi-FI" err="1"/>
              <a:t>napsautt</a:t>
            </a:r>
            <a:r>
              <a:rPr lang="fi-FI"/>
              <a:t>.</a:t>
            </a:r>
          </a:p>
        </p:txBody>
      </p:sp>
      <p:sp>
        <p:nvSpPr>
          <p:cNvPr id="13" name="Dian numeron paikkamerkki 1"/>
          <p:cNvSpPr>
            <a:spLocks noGrp="1"/>
          </p:cNvSpPr>
          <p:nvPr>
            <p:ph type="sldNum" sz="quarter" idx="4"/>
          </p:nvPr>
        </p:nvSpPr>
        <p:spPr>
          <a:xfrm>
            <a:off x="8005977" y="4729163"/>
            <a:ext cx="863990" cy="166687"/>
          </a:xfrm>
          <a:prstGeom prst="rect">
            <a:avLst/>
          </a:prstGeom>
        </p:spPr>
        <p:txBody>
          <a:bodyPr vert="horz" lIns="91440" tIns="45720" rIns="91440" bIns="45720" rtlCol="0" anchor="t"/>
          <a:lstStyle>
            <a:lvl1pPr algn="r">
              <a:defRPr sz="700">
                <a:solidFill>
                  <a:schemeClr val="tx1"/>
                </a:solidFill>
              </a:defRPr>
            </a:lvl1pPr>
          </a:lstStyle>
          <a:p>
            <a:fld id="{6FCB6B90-8271-4E8F-82C1-E646FBB48A2E}" type="slidenum">
              <a:rPr lang="fi-FI" smtClean="0"/>
              <a:pPr/>
              <a:t>‹#›</a:t>
            </a:fld>
            <a:endParaRPr lang="fi-FI"/>
          </a:p>
        </p:txBody>
      </p:sp>
    </p:spTree>
    <p:extLst>
      <p:ext uri="{BB962C8B-B14F-4D97-AF65-F5344CB8AC3E}">
        <p14:creationId xmlns:p14="http://schemas.microsoft.com/office/powerpoint/2010/main" val="729942253"/>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709" r:id="rId3"/>
    <p:sldLayoutId id="2147483710" r:id="rId4"/>
    <p:sldLayoutId id="2147483670" r:id="rId5"/>
    <p:sldLayoutId id="2147483686" r:id="rId6"/>
    <p:sldLayoutId id="2147483664" r:id="rId7"/>
    <p:sldLayoutId id="2147483679" r:id="rId8"/>
    <p:sldLayoutId id="2147483665" r:id="rId9"/>
    <p:sldLayoutId id="2147483681" r:id="rId10"/>
    <p:sldLayoutId id="2147483666" r:id="rId11"/>
    <p:sldLayoutId id="2147483682" r:id="rId12"/>
    <p:sldLayoutId id="2147483667" r:id="rId13"/>
    <p:sldLayoutId id="2147483683" r:id="rId14"/>
    <p:sldLayoutId id="2147483668" r:id="rId15"/>
    <p:sldLayoutId id="2147483684" r:id="rId16"/>
    <p:sldLayoutId id="2147483669" r:id="rId17"/>
    <p:sldLayoutId id="2147483685" r:id="rId18"/>
    <p:sldLayoutId id="2147483671" r:id="rId19"/>
    <p:sldLayoutId id="2147483687" r:id="rId20"/>
    <p:sldLayoutId id="2147483702" r:id="rId21"/>
    <p:sldLayoutId id="2147483704" r:id="rId22"/>
    <p:sldLayoutId id="2147483680" r:id="rId23"/>
    <p:sldLayoutId id="2147483674" r:id="rId24"/>
    <p:sldLayoutId id="2147483691" r:id="rId25"/>
    <p:sldLayoutId id="2147483700" r:id="rId26"/>
    <p:sldLayoutId id="2147483696" r:id="rId27"/>
    <p:sldLayoutId id="2147483673" r:id="rId28"/>
    <p:sldLayoutId id="2147483703" r:id="rId29"/>
    <p:sldLayoutId id="2147483707" r:id="rId30"/>
    <p:sldLayoutId id="2147483708" r:id="rId31"/>
  </p:sldLayoutIdLst>
  <p:transition spd="med">
    <p:fade/>
  </p:transition>
  <p:hf hdr="0"/>
  <p:txStyles>
    <p:title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p:titleStyle>
    <p:body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p:bodyStyle>
    <p:otherStyle>
      <a:defPPr>
        <a:defRPr lang="fi-FI"/>
      </a:defPPr>
      <a:lvl1pPr marL="0" algn="l" defTabSz="806052" rtl="0" eaLnBrk="1" latinLnBrk="0" hangingPunct="1">
        <a:defRPr sz="1587" kern="1200">
          <a:solidFill>
            <a:schemeClr val="tx1"/>
          </a:solidFill>
          <a:latin typeface="+mn-lt"/>
          <a:ea typeface="+mn-ea"/>
          <a:cs typeface="+mn-cs"/>
        </a:defRPr>
      </a:lvl1pPr>
      <a:lvl2pPr marL="403025" algn="l" defTabSz="806052" rtl="0" eaLnBrk="1" latinLnBrk="0" hangingPunct="1">
        <a:defRPr sz="1587" kern="1200">
          <a:solidFill>
            <a:schemeClr val="tx1"/>
          </a:solidFill>
          <a:latin typeface="+mn-lt"/>
          <a:ea typeface="+mn-ea"/>
          <a:cs typeface="+mn-cs"/>
        </a:defRPr>
      </a:lvl2pPr>
      <a:lvl3pPr marL="806052" algn="l" defTabSz="806052" rtl="0" eaLnBrk="1" latinLnBrk="0" hangingPunct="1">
        <a:defRPr sz="1587" kern="1200">
          <a:solidFill>
            <a:schemeClr val="tx1"/>
          </a:solidFill>
          <a:latin typeface="+mn-lt"/>
          <a:ea typeface="+mn-ea"/>
          <a:cs typeface="+mn-cs"/>
        </a:defRPr>
      </a:lvl3pPr>
      <a:lvl4pPr marL="1209078" algn="l" defTabSz="806052" rtl="0" eaLnBrk="1" latinLnBrk="0" hangingPunct="1">
        <a:defRPr sz="1587" kern="1200">
          <a:solidFill>
            <a:schemeClr val="tx1"/>
          </a:solidFill>
          <a:latin typeface="+mn-lt"/>
          <a:ea typeface="+mn-ea"/>
          <a:cs typeface="+mn-cs"/>
        </a:defRPr>
      </a:lvl4pPr>
      <a:lvl5pPr marL="1612105" algn="l" defTabSz="806052" rtl="0" eaLnBrk="1" latinLnBrk="0" hangingPunct="1">
        <a:defRPr sz="1587" kern="1200">
          <a:solidFill>
            <a:schemeClr val="tx1"/>
          </a:solidFill>
          <a:latin typeface="+mn-lt"/>
          <a:ea typeface="+mn-ea"/>
          <a:cs typeface="+mn-cs"/>
        </a:defRPr>
      </a:lvl5pPr>
      <a:lvl6pPr marL="2015123" algn="l" defTabSz="806052" rtl="0" eaLnBrk="1" latinLnBrk="0" hangingPunct="1">
        <a:defRPr sz="1587" kern="1200">
          <a:solidFill>
            <a:schemeClr val="tx1"/>
          </a:solidFill>
          <a:latin typeface="+mn-lt"/>
          <a:ea typeface="+mn-ea"/>
          <a:cs typeface="+mn-cs"/>
        </a:defRPr>
      </a:lvl6pPr>
      <a:lvl7pPr marL="2418157" algn="l" defTabSz="806052" rtl="0" eaLnBrk="1" latinLnBrk="0" hangingPunct="1">
        <a:defRPr sz="1587" kern="1200">
          <a:solidFill>
            <a:schemeClr val="tx1"/>
          </a:solidFill>
          <a:latin typeface="+mn-lt"/>
          <a:ea typeface="+mn-ea"/>
          <a:cs typeface="+mn-cs"/>
        </a:defRPr>
      </a:lvl7pPr>
      <a:lvl8pPr marL="2821180" algn="l" defTabSz="806052" rtl="0" eaLnBrk="1" latinLnBrk="0" hangingPunct="1">
        <a:defRPr sz="1587" kern="1200">
          <a:solidFill>
            <a:schemeClr val="tx1"/>
          </a:solidFill>
          <a:latin typeface="+mn-lt"/>
          <a:ea typeface="+mn-ea"/>
          <a:cs typeface="+mn-cs"/>
        </a:defRPr>
      </a:lvl8pPr>
      <a:lvl9pPr marL="3224205" algn="l" defTabSz="806052"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20" pos="5520" userDrawn="1">
          <p15:clr>
            <a:srgbClr val="F26B43"/>
          </p15:clr>
        </p15:guide>
        <p15:guide id="22" orient="horz" pos="3062" userDrawn="1">
          <p15:clr>
            <a:srgbClr val="F26B43"/>
          </p15:clr>
        </p15:guide>
        <p15:guide id="23" orient="horz" pos="232" userDrawn="1">
          <p15:clr>
            <a:srgbClr val="F26B43"/>
          </p15:clr>
        </p15:guide>
        <p15:guide id="26" pos="240" userDrawn="1">
          <p15:clr>
            <a:srgbClr val="F26B43"/>
          </p15:clr>
        </p15:guide>
        <p15:guide id="27" pos="7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03B2F7-F667-5B3A-3BAE-400F1CB8586E}"/>
              </a:ext>
            </a:extLst>
          </p:cNvPr>
          <p:cNvGraphicFramePr>
            <a:graphicFrameLocks noChangeAspect="1"/>
          </p:cNvGraphicFramePr>
          <p:nvPr userDrawn="1">
            <p:custDataLst>
              <p:tags r:id="rId31"/>
            </p:custDataLst>
            <p:extLst>
              <p:ext uri="{D42A27DB-BD31-4B8C-83A1-F6EECF244321}">
                <p14:modId xmlns:p14="http://schemas.microsoft.com/office/powerpoint/2010/main" val="244235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639" imgH="639" progId="TCLayout.ActiveDocument.1">
                  <p:embed/>
                </p:oleObj>
              </mc:Choice>
              <mc:Fallback>
                <p:oleObj name="think-cell Slide" r:id="rId32" imgW="639" imgH="639" progId="TCLayout.ActiveDocument.1">
                  <p:embed/>
                  <p:pic>
                    <p:nvPicPr>
                      <p:cNvPr id="3" name="think-cell data - do not delete" hidden="1">
                        <a:extLst>
                          <a:ext uri="{FF2B5EF4-FFF2-40B4-BE49-F238E27FC236}">
                            <a16:creationId xmlns:a16="http://schemas.microsoft.com/office/drawing/2014/main" id="{8503B2F7-F667-5B3A-3BAE-400F1CB8586E}"/>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Päivämäärän paikkamerkki 3"/>
          <p:cNvSpPr>
            <a:spLocks noGrp="1"/>
          </p:cNvSpPr>
          <p:nvPr>
            <p:ph type="dt" sz="half" idx="2"/>
          </p:nvPr>
        </p:nvSpPr>
        <p:spPr>
          <a:xfrm>
            <a:off x="282027" y="4728047"/>
            <a:ext cx="919711"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1B16F53B-7158-4458-A0D4-1436C88C6842}" type="datetime1">
              <a:rPr lang="fi-FI" smtClean="0"/>
              <a:t>7.10.2024</a:t>
            </a:fld>
            <a:endParaRPr lang="fi-FI"/>
          </a:p>
        </p:txBody>
      </p:sp>
      <p:sp>
        <p:nvSpPr>
          <p:cNvPr id="8" name="Alatunnisteen paikkamerkki 4"/>
          <p:cNvSpPr>
            <a:spLocks noGrp="1"/>
          </p:cNvSpPr>
          <p:nvPr>
            <p:ph type="ftr" sz="quarter" idx="3"/>
          </p:nvPr>
        </p:nvSpPr>
        <p:spPr>
          <a:xfrm>
            <a:off x="1111307" y="4728047"/>
            <a:ext cx="1296094" cy="163042"/>
          </a:xfrm>
          <a:prstGeom prst="rect">
            <a:avLst/>
          </a:prstGeom>
        </p:spPr>
        <p:txBody>
          <a:bodyPr vert="horz" lIns="91440" tIns="45720" rIns="91440" bIns="45720" rtlCol="0" anchor="t"/>
          <a:lstStyle>
            <a:lvl1pPr algn="l">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fi-FI"/>
              <a:t>SKOL</a:t>
            </a:r>
          </a:p>
        </p:txBody>
      </p:sp>
      <p:sp>
        <p:nvSpPr>
          <p:cNvPr id="26" name="Tekstin paikkamerkki 3"/>
          <p:cNvSpPr>
            <a:spLocks noGrp="1"/>
          </p:cNvSpPr>
          <p:nvPr>
            <p:ph type="body" idx="1"/>
          </p:nvPr>
        </p:nvSpPr>
        <p:spPr>
          <a:xfrm>
            <a:off x="1072801" y="1583532"/>
            <a:ext cx="7171199" cy="289321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27" name="Otsikon paikkamerkki 2"/>
          <p:cNvSpPr>
            <a:spLocks noGrp="1"/>
          </p:cNvSpPr>
          <p:nvPr>
            <p:ph type="title"/>
          </p:nvPr>
        </p:nvSpPr>
        <p:spPr>
          <a:xfrm>
            <a:off x="1072801" y="1102950"/>
            <a:ext cx="7171199" cy="367183"/>
          </a:xfrm>
          <a:prstGeom prst="rect">
            <a:avLst/>
          </a:prstGeom>
        </p:spPr>
        <p:txBody>
          <a:bodyPr vert="horz" lIns="91440" tIns="45720" rIns="91440" bIns="45720" rtlCol="0" anchor="t">
            <a:normAutofit/>
          </a:bodyPr>
          <a:lstStyle/>
          <a:p>
            <a:r>
              <a:rPr lang="fi-FI"/>
              <a:t>Muokkaa </a:t>
            </a:r>
            <a:r>
              <a:rPr lang="fi-FI" err="1"/>
              <a:t>perustyyl</a:t>
            </a:r>
            <a:r>
              <a:rPr lang="fi-FI"/>
              <a:t>. </a:t>
            </a:r>
            <a:r>
              <a:rPr lang="fi-FI" err="1"/>
              <a:t>napsautt</a:t>
            </a:r>
            <a:r>
              <a:rPr lang="fi-FI"/>
              <a:t>.</a:t>
            </a:r>
          </a:p>
        </p:txBody>
      </p:sp>
      <p:sp>
        <p:nvSpPr>
          <p:cNvPr id="13" name="Dian numeron paikkamerkki 1"/>
          <p:cNvSpPr>
            <a:spLocks noGrp="1"/>
          </p:cNvSpPr>
          <p:nvPr>
            <p:ph type="sldNum" sz="quarter" idx="4"/>
          </p:nvPr>
        </p:nvSpPr>
        <p:spPr>
          <a:xfrm>
            <a:off x="8005977" y="4729163"/>
            <a:ext cx="863990" cy="166687"/>
          </a:xfrm>
          <a:prstGeom prst="rect">
            <a:avLst/>
          </a:prstGeom>
        </p:spPr>
        <p:txBody>
          <a:bodyPr vert="horz" lIns="91440" tIns="45720" rIns="91440" bIns="45720" rtlCol="0" anchor="t"/>
          <a:lstStyle>
            <a:lvl1pPr algn="r">
              <a:defRPr sz="700">
                <a:solidFill>
                  <a:schemeClr val="tx1"/>
                </a:solidFill>
              </a:defRPr>
            </a:lvl1pPr>
          </a:lstStyle>
          <a:p>
            <a:fld id="{6FCB6B90-8271-4E8F-82C1-E646FBB48A2E}" type="slidenum">
              <a:rPr lang="fi-FI" smtClean="0"/>
              <a:pPr/>
              <a:t>‹#›</a:t>
            </a:fld>
            <a:endParaRPr lang="fi-FI"/>
          </a:p>
        </p:txBody>
      </p:sp>
    </p:spTree>
    <p:extLst>
      <p:ext uri="{BB962C8B-B14F-4D97-AF65-F5344CB8AC3E}">
        <p14:creationId xmlns:p14="http://schemas.microsoft.com/office/powerpoint/2010/main" val="48657895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Lst>
  <p:transition spd="med">
    <p:fade/>
  </p:transition>
  <p:hf hdr="0"/>
  <p:txStyles>
    <p:title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p:titleStyle>
    <p:body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p:bodyStyle>
    <p:otherStyle>
      <a:defPPr>
        <a:defRPr lang="fi-FI"/>
      </a:defPPr>
      <a:lvl1pPr marL="0" algn="l" defTabSz="806052" rtl="0" eaLnBrk="1" latinLnBrk="0" hangingPunct="1">
        <a:defRPr sz="1587" kern="1200">
          <a:solidFill>
            <a:schemeClr val="tx1"/>
          </a:solidFill>
          <a:latin typeface="+mn-lt"/>
          <a:ea typeface="+mn-ea"/>
          <a:cs typeface="+mn-cs"/>
        </a:defRPr>
      </a:lvl1pPr>
      <a:lvl2pPr marL="403025" algn="l" defTabSz="806052" rtl="0" eaLnBrk="1" latinLnBrk="0" hangingPunct="1">
        <a:defRPr sz="1587" kern="1200">
          <a:solidFill>
            <a:schemeClr val="tx1"/>
          </a:solidFill>
          <a:latin typeface="+mn-lt"/>
          <a:ea typeface="+mn-ea"/>
          <a:cs typeface="+mn-cs"/>
        </a:defRPr>
      </a:lvl2pPr>
      <a:lvl3pPr marL="806052" algn="l" defTabSz="806052" rtl="0" eaLnBrk="1" latinLnBrk="0" hangingPunct="1">
        <a:defRPr sz="1587" kern="1200">
          <a:solidFill>
            <a:schemeClr val="tx1"/>
          </a:solidFill>
          <a:latin typeface="+mn-lt"/>
          <a:ea typeface="+mn-ea"/>
          <a:cs typeface="+mn-cs"/>
        </a:defRPr>
      </a:lvl3pPr>
      <a:lvl4pPr marL="1209078" algn="l" defTabSz="806052" rtl="0" eaLnBrk="1" latinLnBrk="0" hangingPunct="1">
        <a:defRPr sz="1587" kern="1200">
          <a:solidFill>
            <a:schemeClr val="tx1"/>
          </a:solidFill>
          <a:latin typeface="+mn-lt"/>
          <a:ea typeface="+mn-ea"/>
          <a:cs typeface="+mn-cs"/>
        </a:defRPr>
      </a:lvl4pPr>
      <a:lvl5pPr marL="1612105" algn="l" defTabSz="806052" rtl="0" eaLnBrk="1" latinLnBrk="0" hangingPunct="1">
        <a:defRPr sz="1587" kern="1200">
          <a:solidFill>
            <a:schemeClr val="tx1"/>
          </a:solidFill>
          <a:latin typeface="+mn-lt"/>
          <a:ea typeface="+mn-ea"/>
          <a:cs typeface="+mn-cs"/>
        </a:defRPr>
      </a:lvl5pPr>
      <a:lvl6pPr marL="2015123" algn="l" defTabSz="806052" rtl="0" eaLnBrk="1" latinLnBrk="0" hangingPunct="1">
        <a:defRPr sz="1587" kern="1200">
          <a:solidFill>
            <a:schemeClr val="tx1"/>
          </a:solidFill>
          <a:latin typeface="+mn-lt"/>
          <a:ea typeface="+mn-ea"/>
          <a:cs typeface="+mn-cs"/>
        </a:defRPr>
      </a:lvl6pPr>
      <a:lvl7pPr marL="2418157" algn="l" defTabSz="806052" rtl="0" eaLnBrk="1" latinLnBrk="0" hangingPunct="1">
        <a:defRPr sz="1587" kern="1200">
          <a:solidFill>
            <a:schemeClr val="tx1"/>
          </a:solidFill>
          <a:latin typeface="+mn-lt"/>
          <a:ea typeface="+mn-ea"/>
          <a:cs typeface="+mn-cs"/>
        </a:defRPr>
      </a:lvl7pPr>
      <a:lvl8pPr marL="2821180" algn="l" defTabSz="806052" rtl="0" eaLnBrk="1" latinLnBrk="0" hangingPunct="1">
        <a:defRPr sz="1587" kern="1200">
          <a:solidFill>
            <a:schemeClr val="tx1"/>
          </a:solidFill>
          <a:latin typeface="+mn-lt"/>
          <a:ea typeface="+mn-ea"/>
          <a:cs typeface="+mn-cs"/>
        </a:defRPr>
      </a:lvl8pPr>
      <a:lvl9pPr marL="3224205" algn="l" defTabSz="806052"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20" pos="5520">
          <p15:clr>
            <a:srgbClr val="F26B43"/>
          </p15:clr>
        </p15:guide>
        <p15:guide id="22" orient="horz" pos="3062">
          <p15:clr>
            <a:srgbClr val="F26B43"/>
          </p15:clr>
        </p15:guide>
        <p15:guide id="23" orient="horz" pos="232">
          <p15:clr>
            <a:srgbClr val="F26B43"/>
          </p15:clr>
        </p15:guide>
        <p15:guide id="26" pos="240">
          <p15:clr>
            <a:srgbClr val="F26B43"/>
          </p15:clr>
        </p15:guide>
        <p15:guide id="27" pos="75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4.sv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 Type="http://schemas.openxmlformats.org/officeDocument/2006/relationships/hyperlink" Target="https://www.workinfinland.com/fi/tyonantajat/palvelut/talent-manager-network/" TargetMode="External"/><Relationship Id="rId16" Type="http://schemas.openxmlformats.org/officeDocument/2006/relationships/image" Target="../media/image22.svg"/><Relationship Id="rId20" Type="http://schemas.openxmlformats.org/officeDocument/2006/relationships/image" Target="../media/image26.svg"/><Relationship Id="rId1" Type="http://schemas.openxmlformats.org/officeDocument/2006/relationships/slideLayout" Target="../slideLayouts/slideLayout21.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19" Type="http://schemas.openxmlformats.org/officeDocument/2006/relationships/image" Target="../media/image25.pn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svg"/><Relationship Id="rId22" Type="http://schemas.openxmlformats.org/officeDocument/2006/relationships/image" Target="../media/image28.sv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chart" Target="../charts/chart1.xml"/><Relationship Id="rId1" Type="http://schemas.openxmlformats.org/officeDocument/2006/relationships/slideLayout" Target="../slideLayouts/slideLayout21.xml"/><Relationship Id="rId6" Type="http://schemas.openxmlformats.org/officeDocument/2006/relationships/chart" Target="../charts/chart5.xml"/><Relationship Id="rId11" Type="http://schemas.openxmlformats.org/officeDocument/2006/relationships/image" Target="../media/image8.svg"/><Relationship Id="rId5" Type="http://schemas.openxmlformats.org/officeDocument/2006/relationships/chart" Target="../charts/chart4.xml"/><Relationship Id="rId10" Type="http://schemas.openxmlformats.org/officeDocument/2006/relationships/image" Target="../media/image7.png"/><Relationship Id="rId4" Type="http://schemas.openxmlformats.org/officeDocument/2006/relationships/chart" Target="../charts/chart3.xml"/><Relationship Id="rId9" Type="http://schemas.openxmlformats.org/officeDocument/2006/relationships/image" Target="../media/image6.svg"/></Relationships>
</file>

<file path=ppt/slides/_rels/slide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CC2D2E-64CC-2DB4-5BC9-F6CA637A1627}"/>
              </a:ext>
            </a:extLst>
          </p:cNvPr>
          <p:cNvSpPr>
            <a:spLocks noGrp="1"/>
          </p:cNvSpPr>
          <p:nvPr>
            <p:ph type="body" sz="quarter" idx="15"/>
          </p:nvPr>
        </p:nvSpPr>
        <p:spPr>
          <a:xfrm>
            <a:off x="752732" y="1881898"/>
            <a:ext cx="7297352" cy="1165268"/>
          </a:xfrm>
        </p:spPr>
        <p:txBody>
          <a:bodyPr anchor="b">
            <a:normAutofit/>
          </a:bodyPr>
          <a:lstStyle/>
          <a:p>
            <a:r>
              <a:rPr lang="fi-FI" sz="3200" dirty="0"/>
              <a:t>SKOL ry markkina-analyysi Syksy 2024</a:t>
            </a:r>
          </a:p>
        </p:txBody>
      </p:sp>
      <p:sp>
        <p:nvSpPr>
          <p:cNvPr id="3" name="Dian numeron paikkamerkki 2"/>
          <p:cNvSpPr>
            <a:spLocks noGrp="1"/>
          </p:cNvSpPr>
          <p:nvPr>
            <p:ph type="sldNum" sz="quarter" idx="12"/>
          </p:nvPr>
        </p:nvSpPr>
        <p:spPr/>
        <p:txBody>
          <a:bodyPr/>
          <a:lstStyle/>
          <a:p>
            <a:fld id="{6FCB6B90-8271-4E8F-82C1-E646FBB48A2E}" type="slidenum">
              <a:rPr lang="fi-FI" smtClean="0"/>
              <a:pPr/>
              <a:t>1</a:t>
            </a:fld>
            <a:endParaRPr lang="fi-FI"/>
          </a:p>
        </p:txBody>
      </p:sp>
      <p:sp>
        <p:nvSpPr>
          <p:cNvPr id="4" name="Päivämäärän paikkamerkki 3"/>
          <p:cNvSpPr>
            <a:spLocks noGrp="1"/>
          </p:cNvSpPr>
          <p:nvPr>
            <p:ph type="dt" sz="half" idx="10"/>
          </p:nvPr>
        </p:nvSpPr>
        <p:spPr/>
        <p:txBody>
          <a:bodyPr/>
          <a:lstStyle/>
          <a:p>
            <a:r>
              <a:rPr lang="fi-FI" dirty="0"/>
              <a:t>8.10.2024</a:t>
            </a:r>
          </a:p>
        </p:txBody>
      </p:sp>
      <p:sp>
        <p:nvSpPr>
          <p:cNvPr id="5" name="Alatunnisteen paikkamerkki 4"/>
          <p:cNvSpPr>
            <a:spLocks noGrp="1"/>
          </p:cNvSpPr>
          <p:nvPr>
            <p:ph type="ftr" sz="quarter" idx="11"/>
          </p:nvPr>
        </p:nvSpPr>
        <p:spPr/>
        <p:txBody>
          <a:bodyPr/>
          <a:lstStyle/>
          <a:p>
            <a:r>
              <a:rPr lang="fi-FI"/>
              <a:t>SKOL</a:t>
            </a:r>
          </a:p>
        </p:txBody>
      </p:sp>
      <p:sp>
        <p:nvSpPr>
          <p:cNvPr id="7" name="Text Placeholder 1">
            <a:extLst>
              <a:ext uri="{FF2B5EF4-FFF2-40B4-BE49-F238E27FC236}">
                <a16:creationId xmlns:a16="http://schemas.microsoft.com/office/drawing/2014/main" id="{C9B2A790-6264-EAE7-02ED-9CF4A7B800C9}"/>
              </a:ext>
            </a:extLst>
          </p:cNvPr>
          <p:cNvSpPr txBox="1">
            <a:spLocks/>
          </p:cNvSpPr>
          <p:nvPr/>
        </p:nvSpPr>
        <p:spPr>
          <a:xfrm>
            <a:off x="752732" y="3047166"/>
            <a:ext cx="6977283" cy="1165268"/>
          </a:xfrm>
          <a:prstGeom prst="rect">
            <a:avLst/>
          </a:prstGeom>
        </p:spPr>
        <p:txBody>
          <a:bodyPr vert="horz" lIns="91440" tIns="45720" rIns="91440" bIns="45720" rtlCol="0" anchor="t">
            <a:normAutofit/>
          </a:bodyPr>
          <a:lstStyle>
            <a:lvl1pPr marL="10800" indent="0" algn="l" defTabSz="806052" rtl="0" eaLnBrk="1" latinLnBrk="0" hangingPunct="1">
              <a:lnSpc>
                <a:spcPct val="100000"/>
              </a:lnSpc>
              <a:spcBef>
                <a:spcPts val="0"/>
              </a:spcBef>
              <a:spcAft>
                <a:spcPts val="0"/>
              </a:spcAft>
              <a:buClrTx/>
              <a:buSzPct val="125000"/>
              <a:buFontTx/>
              <a:buNone/>
              <a:defRPr sz="2600" b="1"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0"/>
              </a:spcAft>
              <a:buClrTx/>
              <a:buSzPct val="125000"/>
              <a:buFontTx/>
              <a:buNone/>
              <a:defRPr sz="2200" b="1" kern="1200" spc="-35" baseline="0">
                <a:solidFill>
                  <a:srgbClr val="666666"/>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r>
              <a:rPr lang="fi-FI" sz="1200" b="0" dirty="0">
                <a:solidFill>
                  <a:schemeClr val="bg1"/>
                </a:solidFill>
              </a:rPr>
              <a:t>Tiivistelmä 8.10.2024</a:t>
            </a:r>
          </a:p>
        </p:txBody>
      </p:sp>
    </p:spTree>
    <p:extLst>
      <p:ext uri="{BB962C8B-B14F-4D97-AF65-F5344CB8AC3E}">
        <p14:creationId xmlns:p14="http://schemas.microsoft.com/office/powerpoint/2010/main" val="2097100668"/>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0</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a:t>Tekoälyn hyödyntäminen</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1" y="290513"/>
            <a:ext cx="4385424" cy="250837"/>
          </a:xfrm>
          <a:prstGeom prst="rect">
            <a:avLst/>
          </a:prstGeom>
          <a:solidFill>
            <a:schemeClr val="accent6"/>
          </a:solidFill>
        </p:spPr>
        <p:txBody>
          <a:bodyPr>
            <a:noAutofit/>
          </a:bodyPr>
          <a:lstStyle/>
          <a:p>
            <a:pPr marL="288000"/>
            <a:r>
              <a:rPr lang="fi-FI" dirty="0">
                <a:solidFill>
                  <a:schemeClr val="bg1"/>
                </a:solidFill>
              </a:rPr>
              <a:t>Tekoälyn hyödyntämismahdollisuudet</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fi-FI" sz="1000" b="1" spc="-40" dirty="0">
                <a:solidFill>
                  <a:schemeClr val="bg1"/>
                </a:solidFill>
              </a:rPr>
              <a:t>SKOL-yritysten ja elinkeinoelämän järjestöjen näkemyksiä </a:t>
            </a: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a:solidFill>
                  <a:srgbClr val="FFFFFF"/>
                </a:solidFill>
              </a:rPr>
              <a:t>Yleiskuvaus</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2708434"/>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fi-FI" sz="800" dirty="0">
                <a:solidFill>
                  <a:schemeClr val="bg1"/>
                </a:solidFill>
                <a:latin typeface="+mj-lt"/>
              </a:rPr>
              <a:t>Konsultointiyritys </a:t>
            </a:r>
            <a:r>
              <a:rPr lang="fi-FI" sz="800" dirty="0" err="1">
                <a:solidFill>
                  <a:schemeClr val="bg1"/>
                </a:solidFill>
                <a:latin typeface="+mj-lt"/>
              </a:rPr>
              <a:t>McKinsey</a:t>
            </a:r>
            <a:r>
              <a:rPr lang="fi-FI" sz="800" dirty="0">
                <a:solidFill>
                  <a:schemeClr val="bg1"/>
                </a:solidFill>
                <a:latin typeface="+mj-lt"/>
              </a:rPr>
              <a:t> arvioi, että koulutetun väestön ja digitaalisen kypsyyden ansiosta Suomessa tekoälyllä voi olla nopea vaikutus talouteen ja työhön. Yhtiön arvion mukaan tekoälyn osuus Suomen </a:t>
            </a:r>
            <a:r>
              <a:rPr lang="fi-FI" sz="800" dirty="0" err="1">
                <a:solidFill>
                  <a:schemeClr val="bg1"/>
                </a:solidFill>
                <a:latin typeface="+mj-lt"/>
              </a:rPr>
              <a:t>BKT:sta</a:t>
            </a:r>
            <a:r>
              <a:rPr lang="fi-FI" sz="800" dirty="0">
                <a:solidFill>
                  <a:schemeClr val="bg1"/>
                </a:solidFill>
                <a:latin typeface="+mj-lt"/>
              </a:rPr>
              <a:t> voi olla jopa 13 miljardia euroa vuonna 2045. </a:t>
            </a:r>
          </a:p>
          <a:p>
            <a:pPr marL="171450" indent="-171450">
              <a:spcAft>
                <a:spcPts val="300"/>
              </a:spcAft>
              <a:buFont typeface="Arial" panose="020B0604020202020204" pitchFamily="34" charset="0"/>
              <a:buChar char="•"/>
            </a:pPr>
            <a:r>
              <a:rPr lang="fi-FI" sz="800" dirty="0">
                <a:solidFill>
                  <a:schemeClr val="bg1"/>
                </a:solidFill>
                <a:latin typeface="+mj-lt"/>
              </a:rPr>
              <a:t>Suurimpien arvonluontimahdollisuuksien ennakoidaan löytyvän toimialojen välisissä toiminnoissa, kuten markkinoinnissa ja myynnissä, ohjelmistokehityksessä ja asiakaspalvelussa.</a:t>
            </a:r>
          </a:p>
          <a:p>
            <a:pPr marL="171450" indent="-171450">
              <a:spcAft>
                <a:spcPts val="300"/>
              </a:spcAft>
              <a:buFont typeface="Arial" panose="020B0604020202020204" pitchFamily="34" charset="0"/>
              <a:buChar char="•"/>
            </a:pPr>
            <a:r>
              <a:rPr lang="fi-FI" sz="800" dirty="0">
                <a:solidFill>
                  <a:schemeClr val="bg1"/>
                </a:solidFill>
                <a:latin typeface="+mj-lt"/>
              </a:rPr>
              <a:t>Vaikka työmarkkinoiden osalta on esitetty arvioita jopa ammattien katoamisesta, niin Etlan arvion mukaan tekoälyn vaikutus Suomen työmarkkinoilla on enemmän ihmistyötä täydentävä kuin sitä korvaava.</a:t>
            </a:r>
          </a:p>
          <a:p>
            <a:pPr marL="171450" indent="-171450">
              <a:spcAft>
                <a:spcPts val="300"/>
              </a:spcAft>
              <a:buFont typeface="Arial" panose="020B0604020202020204" pitchFamily="34" charset="0"/>
              <a:buChar char="•"/>
            </a:pPr>
            <a:r>
              <a:rPr lang="fi-FI" sz="800" dirty="0">
                <a:solidFill>
                  <a:schemeClr val="bg1"/>
                </a:solidFill>
                <a:latin typeface="+mj-lt"/>
              </a:rPr>
              <a:t>Teknologiateollisuus ry päätti marraskuussa 2023 10 M€ investoinnista tekoälyn hyödyntämisen vauhdittamiseen Suomessa. Ohjelman rahoitusta kanavoidaan mm. tekoälyn kansainvälisten huippuosaajien rekrytointiin, Teknologiateollisuuden jäsenyritysten tekoälykehityshankkeisiin ja näihin liittyviin ylemmän korkeakoulututkinnon lopputöiden apurahoihin.</a:t>
            </a:r>
          </a:p>
          <a:p>
            <a:pPr marL="171450" indent="-171450">
              <a:spcAft>
                <a:spcPts val="300"/>
              </a:spcAft>
              <a:buFont typeface="Arial" panose="020B0604020202020204" pitchFamily="34" charset="0"/>
              <a:buChar char="•"/>
            </a:pPr>
            <a:r>
              <a:rPr lang="fi-FI" sz="800" dirty="0">
                <a:solidFill>
                  <a:schemeClr val="bg1"/>
                </a:solidFill>
                <a:latin typeface="+mj-lt"/>
              </a:rPr>
              <a:t>Rakennus- ja kiinteistöalalla on ryhdytty kokoamaan pelikirjaa, jonka tarkoituksena on tukea rakennetun ympäristön toimijoita tekoälyn hyödyntämisessä ja edistää kestäviä uusia teknologioita rakennusalalla. Pelikirjan ensimmäinen versio valmistuu vuodenvaihteessa.</a:t>
            </a: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1762021"/>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Tekoälyä on hyödynnetty suunnittelu- ja konsultointialan yrityksissä mm. suunnittelutyön apuna ja joissakin yrityksissä on myös jo kehitetty tekoälyyn perustuvia palveluja asiakkaille, mutta toistaiseksi radikaalia vallankumousta työn tekemiseen ei vielä olla koettu. </a:t>
            </a:r>
          </a:p>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Tekoälyyn suhtaudutaan mielenkiinnolla mutta varauksella. Haasteina tunnistettu, ettei osata vielä kouluttaa ja resursoida osaajia riittävästi. Myös asenteet esteenä ja ettei liiketoimintapotentiaalia ymmärretä.</a:t>
            </a:r>
          </a:p>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Tekoälyn mahdollisuudet voidaan karkeasti jakaa seuraaviin kategorioihin:</a:t>
            </a:r>
          </a:p>
          <a:p>
            <a:pPr marL="568532" lvl="1" indent="-228600">
              <a:spcAft>
                <a:spcPts val="300"/>
              </a:spcAft>
              <a:buFont typeface="+mj-lt"/>
              <a:buAutoNum type="arabicPeriod"/>
            </a:pPr>
            <a:r>
              <a:rPr lang="fi-FI" sz="800" dirty="0">
                <a:solidFill>
                  <a:schemeClr val="bg1"/>
                </a:solidFill>
                <a:effectLst/>
                <a:latin typeface="+mj-lt"/>
                <a:ea typeface="Verdana" panose="020B0604030504040204" pitchFamily="34" charset="0"/>
                <a:cs typeface="Times New Roman" panose="02020603050405020304" pitchFamily="18" charset="0"/>
              </a:rPr>
              <a:t>Prosessiautomaatio, tehokkuuden ja tuottavuuden nosto</a:t>
            </a:r>
          </a:p>
          <a:p>
            <a:pPr marL="568532" lvl="1" indent="-228600">
              <a:spcAft>
                <a:spcPts val="300"/>
              </a:spcAft>
              <a:buFont typeface="+mj-lt"/>
              <a:buAutoNum type="arabicPeriod"/>
            </a:pPr>
            <a:r>
              <a:rPr lang="fi-FI" sz="800" dirty="0">
                <a:solidFill>
                  <a:schemeClr val="bg1"/>
                </a:solidFill>
                <a:effectLst/>
                <a:latin typeface="+mj-lt"/>
                <a:ea typeface="Verdana" panose="020B0604030504040204" pitchFamily="34" charset="0"/>
                <a:cs typeface="Times New Roman" panose="02020603050405020304" pitchFamily="18" charset="0"/>
              </a:rPr>
              <a:t>Uudet tuotteet ja palvelut </a:t>
            </a:r>
          </a:p>
          <a:p>
            <a:pPr marL="568532" lvl="1" indent="-228600">
              <a:spcAft>
                <a:spcPts val="300"/>
              </a:spcAft>
              <a:buFont typeface="+mj-lt"/>
              <a:buAutoNum type="arabicPeriod"/>
            </a:pPr>
            <a:r>
              <a:rPr lang="fi-FI" sz="800" dirty="0">
                <a:solidFill>
                  <a:schemeClr val="bg1"/>
                </a:solidFill>
                <a:effectLst/>
                <a:latin typeface="+mj-lt"/>
                <a:ea typeface="Verdana" panose="020B0604030504040204" pitchFamily="34" charset="0"/>
                <a:cs typeface="Times New Roman" panose="02020603050405020304" pitchFamily="18" charset="0"/>
              </a:rPr>
              <a:t>Uudet liiketoimintamallit </a:t>
            </a:r>
          </a:p>
        </p:txBody>
      </p:sp>
      <p:sp>
        <p:nvSpPr>
          <p:cNvPr id="6" name="Päivämäärän paikkamerkki 3">
            <a:extLst>
              <a:ext uri="{FF2B5EF4-FFF2-40B4-BE49-F238E27FC236}">
                <a16:creationId xmlns:a16="http://schemas.microsoft.com/office/drawing/2014/main" id="{14D069D6-9161-EB8C-B51F-EAB266E5E6F7}"/>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3286906433"/>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1</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a:t>Vastuullisuus</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6757989" cy="250837"/>
          </a:xfrm>
          <a:prstGeom prst="rect">
            <a:avLst/>
          </a:prstGeom>
          <a:solidFill>
            <a:schemeClr val="accent6"/>
          </a:solidFill>
        </p:spPr>
        <p:txBody>
          <a:bodyPr>
            <a:noAutofit/>
          </a:bodyPr>
          <a:lstStyle/>
          <a:p>
            <a:pPr marL="288000"/>
            <a:r>
              <a:rPr lang="fi-FI" dirty="0">
                <a:solidFill>
                  <a:schemeClr val="bg1"/>
                </a:solidFill>
              </a:rPr>
              <a:t>Vastuullisuuden ja kestävän kehityksen rooli investointien ohjauksessa Euroopassa ja Suomessa</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fi-FI" sz="1000" b="1" spc="-40" dirty="0">
                <a:solidFill>
                  <a:schemeClr val="bg1"/>
                </a:solidFill>
              </a:rPr>
              <a:t>SKOL-yritysten ja elinkeinoelämän järjestöjen näkemyksiä </a:t>
            </a: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a:solidFill>
                  <a:srgbClr val="FFFFFF"/>
                </a:solidFill>
              </a:rPr>
              <a:t>Yleiskuvaus</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2993127"/>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fi-FI" sz="800" dirty="0">
                <a:solidFill>
                  <a:schemeClr val="bg1"/>
                </a:solidFill>
                <a:latin typeface="+mj-lt"/>
              </a:rPr>
              <a:t>EU:n kestävän rahoituksen kokonaisuudella on merkittävä rooli EU:n Green </a:t>
            </a:r>
            <a:r>
              <a:rPr lang="fi-FI" sz="800" dirty="0" err="1">
                <a:solidFill>
                  <a:schemeClr val="bg1"/>
                </a:solidFill>
                <a:latin typeface="+mj-lt"/>
              </a:rPr>
              <a:t>Deal</a:t>
            </a:r>
            <a:r>
              <a:rPr lang="fi-FI" sz="800" dirty="0">
                <a:solidFill>
                  <a:schemeClr val="bg1"/>
                </a:solidFill>
                <a:latin typeface="+mj-lt"/>
              </a:rPr>
              <a:t> tavoitteiden ja kansainvälisten ilmastositoumusten täyttämisessä minkä lisäksi niillä tavoitellaan mm. läpinäkyvyyttä ja johdonmukaisuutta vastuullisuusraportointiin sekä yksityisten varojen ohjaamista siirtymään ilmastoneutraaliin ja resurssitehokkaaseen talouteen.</a:t>
            </a:r>
          </a:p>
          <a:p>
            <a:pPr marL="171450" indent="-171450">
              <a:spcAft>
                <a:spcPts val="300"/>
              </a:spcAft>
              <a:buFont typeface="Arial" panose="020B0604020202020204" pitchFamily="34" charset="0"/>
              <a:buChar char="•"/>
            </a:pPr>
            <a:r>
              <a:rPr lang="fi-FI" sz="800" dirty="0">
                <a:solidFill>
                  <a:schemeClr val="bg1"/>
                </a:solidFill>
                <a:latin typeface="+mj-lt"/>
              </a:rPr>
              <a:t>Erityisesti EU taksonomia on merkittävässä roolissa investointien ohjauksen kannalta, sillä se määrittelee kriteerit ympäristön kannalta kestäväksi luokiteltavalle taloudelliselle toiminnalle.</a:t>
            </a:r>
          </a:p>
          <a:p>
            <a:pPr marL="171450" indent="-171450">
              <a:spcAft>
                <a:spcPts val="300"/>
              </a:spcAft>
              <a:buFont typeface="Arial" panose="020B0604020202020204" pitchFamily="34" charset="0"/>
              <a:buChar char="•"/>
            </a:pPr>
            <a:r>
              <a:rPr lang="fi-FI" sz="800" dirty="0">
                <a:solidFill>
                  <a:schemeClr val="bg1"/>
                </a:solidFill>
                <a:latin typeface="+mj-lt"/>
              </a:rPr>
              <a:t>Raportointivelvoitteet (CSRD) laajenevat koskemaan kaikkia suuryrityksiä 2025, listattuja pk-yhtiöitä 2026 ja EU:n ulkopuolisia yhtiöitä, joilla on toimintaa EU:ssa vuodesta 2028 eteenpäin.</a:t>
            </a:r>
          </a:p>
          <a:p>
            <a:pPr marL="171450" indent="-171450">
              <a:spcAft>
                <a:spcPts val="300"/>
              </a:spcAft>
              <a:buFont typeface="Arial" panose="020B0604020202020204" pitchFamily="34" charset="0"/>
              <a:buChar char="•"/>
            </a:pPr>
            <a:r>
              <a:rPr lang="fi-FI" sz="800" dirty="0">
                <a:solidFill>
                  <a:schemeClr val="bg1"/>
                </a:solidFill>
                <a:latin typeface="+mj-lt"/>
              </a:rPr>
              <a:t>Lisääntyneen vastuullisuuden odotetaan vaikuttavan pääasiassa </a:t>
            </a:r>
            <a:r>
              <a:rPr lang="fi-FI" sz="800">
                <a:solidFill>
                  <a:schemeClr val="bg1"/>
                </a:solidFill>
                <a:latin typeface="+mj-lt"/>
              </a:rPr>
              <a:t>positiivisesti suunnittelu- </a:t>
            </a:r>
            <a:r>
              <a:rPr lang="fi-FI" sz="800" dirty="0">
                <a:solidFill>
                  <a:schemeClr val="bg1"/>
                </a:solidFill>
                <a:latin typeface="+mj-lt"/>
              </a:rPr>
              <a:t>ja konsultointialan työmäärään, sillä asiakasyhtiöt tarvitsevat enenevissä määrin apua selviytyäkseen lisääntyvistä raportointi- ja selvitysvelvollisuuksista.</a:t>
            </a:r>
          </a:p>
          <a:p>
            <a:pPr marL="171450" indent="-171450">
              <a:spcAft>
                <a:spcPts val="300"/>
              </a:spcAft>
              <a:buFont typeface="Arial" panose="020B0604020202020204" pitchFamily="34" charset="0"/>
              <a:buChar char="•"/>
            </a:pPr>
            <a:r>
              <a:rPr lang="fi-FI" sz="800" dirty="0">
                <a:solidFill>
                  <a:schemeClr val="bg1"/>
                </a:solidFill>
                <a:latin typeface="+mj-lt"/>
              </a:rPr>
              <a:t>Vastuullisuusvaatimukset asiakkailta ja tiukentuva sääntely ajavat asiakasyrityksiä miettimään uusia ratkaisuja vanhojen tilalle sekä vauhdittamaan niiden käyttöönottoa, mikä tarjoaa mahdollisuuksia SKOL-yrityksille.</a:t>
            </a:r>
          </a:p>
          <a:p>
            <a:pPr marL="171450" indent="-171450">
              <a:spcAft>
                <a:spcPts val="300"/>
              </a:spcAft>
              <a:buFont typeface="Arial" panose="020B0604020202020204" pitchFamily="34" charset="0"/>
              <a:buChar char="•"/>
            </a:pPr>
            <a:r>
              <a:rPr lang="fi-FI" sz="800" dirty="0">
                <a:solidFill>
                  <a:schemeClr val="bg1"/>
                </a:solidFill>
                <a:latin typeface="+mj-lt"/>
              </a:rPr>
              <a:t>Vastuullisuussääntely ja -käytännöt kehittyvät jatkuvasti ja pidemmän aikavälin vaikutukset ovat osaltaan riippuvaisia tulevasta kehityksestä.</a:t>
            </a: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2092881"/>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Vastuullisuus näkyy jo suunnittelu- ja konsultointialan työssä. Lisääntyvät vastuullisuusvaatimukset lisäävät tarvetta konsulttityölle ja erityisesti erinäiset raportointivaatimukset ovat viime aikoina työllistäneet.</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Ylikansallinen sääntelykehys voi asettaa rajoituksia Suomen kaltaisille pienille valtioille ja pahimmassa tapauksessa estää investointeja.</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Asiakkaiden suunnalta on havaittavissa, että vastuullisuusasiat ovat nykypäivänä tärkeitä ja asiakkaat joutuvat käyttämään enemmän aikaa vastuullisuusasioiden miettimiseen. Raha kuitenkin edelleen se, joka ratkaisee ja usein käytännössä pitää valita tehdäänkö ympäristön kannalta hyviä vai kustannustehokkaita ratkaisuja.</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Tiukempi sääntely pakottaa yhtiöitä ”tekemään enemmän kuin puhumaan”, mikä on positiivista SKOL-yhtiöiden näkökulmasta.</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Suunnittelu- ja konsulttitoimialan toimijoiden on tärkeää myös itse varmistaa, että tekeminen on samalla tasolla kuin viestintä.</a:t>
            </a:r>
          </a:p>
        </p:txBody>
      </p:sp>
      <p:sp>
        <p:nvSpPr>
          <p:cNvPr id="6" name="Päivämäärän paikkamerkki 3">
            <a:extLst>
              <a:ext uri="{FF2B5EF4-FFF2-40B4-BE49-F238E27FC236}">
                <a16:creationId xmlns:a16="http://schemas.microsoft.com/office/drawing/2014/main" id="{611DDC54-B812-55E8-98A5-71C856304EB4}"/>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205050444"/>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2</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a:t>Strategioiden yleiskuvaus</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4385425" cy="250837"/>
          </a:xfrm>
          <a:prstGeom prst="rect">
            <a:avLst/>
          </a:prstGeom>
          <a:solidFill>
            <a:schemeClr val="accent6"/>
          </a:solidFill>
        </p:spPr>
        <p:txBody>
          <a:bodyPr>
            <a:noAutofit/>
          </a:bodyPr>
          <a:lstStyle/>
          <a:p>
            <a:pPr marL="288000"/>
            <a:r>
              <a:rPr lang="fi-FI" dirty="0">
                <a:solidFill>
                  <a:schemeClr val="bg1"/>
                </a:solidFill>
              </a:rPr>
              <a:t>Teollisuuspoliittinen strategia ja mineraalistrategia</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fi-FI" sz="1000" b="1" spc="-40" dirty="0">
                <a:solidFill>
                  <a:schemeClr val="bg1"/>
                </a:solidFill>
              </a:rPr>
              <a:t>Mineraalistrategia</a:t>
            </a: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a:solidFill>
                  <a:srgbClr val="FFFFFF"/>
                </a:solidFill>
              </a:rPr>
              <a:t>Teollisuuspoliittinen strategia</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3270126"/>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fi-FI" sz="800" dirty="0">
                <a:solidFill>
                  <a:schemeClr val="bg1"/>
                </a:solidFill>
                <a:latin typeface="+mj-lt"/>
              </a:rPr>
              <a:t>Suomella on erinomaiset mahdollisuudet hyötyä globaalista puhtaan siirtymän ja uuden teknologian ennustetusta investointiaallosta, joka tarjoaa vahvat edellytykset teollisuuden uudistumiselle ja vahvistumiselle. Globaalien markkinoiden murrokset tarjoavat lupaavia mahdollisuuksia niille, jotka kykenevät hyödyntämään tehokkaasti nousevia teknologioita, kuten kvanttilaskentaa, robotiikkaa, dataa ja tekoälyä uusien ratkaisujen luomisessa. Tämä edellyttää, että suomalaiset yritykset sekä toimialat pystyvät uudistumaan, ja integroitumaan vahvemmin muuttuviin globaaleihin arvoketjuihin.</a:t>
            </a:r>
          </a:p>
          <a:p>
            <a:pPr marL="171450" indent="-171450">
              <a:spcAft>
                <a:spcPts val="300"/>
              </a:spcAft>
              <a:buFont typeface="Arial" panose="020B0604020202020204" pitchFamily="34" charset="0"/>
              <a:buChar char="•"/>
            </a:pPr>
            <a:endParaRPr lang="fi-FI" sz="800" dirty="0">
              <a:solidFill>
                <a:schemeClr val="bg1"/>
              </a:solidFill>
              <a:latin typeface="+mj-lt"/>
            </a:endParaRPr>
          </a:p>
          <a:p>
            <a:pPr marL="171450" indent="-171450">
              <a:spcAft>
                <a:spcPts val="300"/>
              </a:spcAft>
              <a:buFont typeface="Arial" panose="020B0604020202020204" pitchFamily="34" charset="0"/>
              <a:buChar char="•"/>
            </a:pPr>
            <a:r>
              <a:rPr lang="fi-FI" sz="800" dirty="0">
                <a:solidFill>
                  <a:schemeClr val="bg1"/>
                </a:solidFill>
                <a:latin typeface="+mj-lt"/>
              </a:rPr>
              <a:t>Teollisuuspolitiisen strategian tavoitteena on vahvistaa suomalaisen teollisuuden kilpailuasemaa globaaleilla markkinoilla ja tuottaa arvonlisää ja hyvinvointia Suomeen. Strategialla on neljä osatavoitetta:</a:t>
            </a:r>
          </a:p>
          <a:p>
            <a:pPr marL="568532" lvl="1" indent="-228600">
              <a:spcAft>
                <a:spcPts val="300"/>
              </a:spcAft>
              <a:buFont typeface="+mj-lt"/>
              <a:buAutoNum type="arabicPeriod"/>
            </a:pPr>
            <a:r>
              <a:rPr lang="fi-FI" sz="800" dirty="0">
                <a:solidFill>
                  <a:schemeClr val="bg1"/>
                </a:solidFill>
                <a:latin typeface="+mj-lt"/>
              </a:rPr>
              <a:t>Tukea vahvojen teollisuudenalojen uudistumista niiden tuottavuuden ja jalostusarvon kasvattamiseksi ja kilpailukyvyn vahvistamiseksi</a:t>
            </a:r>
          </a:p>
          <a:p>
            <a:pPr marL="568532" lvl="1" indent="-228600">
              <a:spcAft>
                <a:spcPts val="300"/>
              </a:spcAft>
              <a:buFont typeface="+mj-lt"/>
              <a:buAutoNum type="arabicPeriod"/>
            </a:pPr>
            <a:r>
              <a:rPr lang="fi-FI" sz="800" dirty="0">
                <a:solidFill>
                  <a:schemeClr val="bg1"/>
                </a:solidFill>
                <a:latin typeface="+mj-lt"/>
              </a:rPr>
              <a:t>Edistää uusien alojen vahvistumista merkittäviksi teollisuuden kasvualoiksi, monipuolistamaan elinkeinorakennetta</a:t>
            </a:r>
          </a:p>
          <a:p>
            <a:pPr marL="568532" lvl="1" indent="-228600">
              <a:spcAft>
                <a:spcPts val="300"/>
              </a:spcAft>
              <a:buFont typeface="+mj-lt"/>
              <a:buAutoNum type="arabicPeriod"/>
            </a:pPr>
            <a:r>
              <a:rPr lang="fi-FI" sz="800" dirty="0">
                <a:solidFill>
                  <a:schemeClr val="bg1"/>
                </a:solidFill>
                <a:latin typeface="+mj-lt"/>
              </a:rPr>
              <a:t>Saada Suomeen investointeja vahvistamaan teollista perustaa</a:t>
            </a:r>
          </a:p>
          <a:p>
            <a:pPr marL="568532" lvl="1" indent="-228600">
              <a:spcAft>
                <a:spcPts val="300"/>
              </a:spcAft>
              <a:buFont typeface="+mj-lt"/>
              <a:buAutoNum type="arabicPeriod"/>
            </a:pPr>
            <a:r>
              <a:rPr lang="fi-FI" sz="800" dirty="0">
                <a:solidFill>
                  <a:schemeClr val="bg1"/>
                </a:solidFill>
                <a:latin typeface="+mj-lt"/>
              </a:rPr>
              <a:t>Varmistaa teollisuuden tarvitsemien osaajien saatavuus.</a:t>
            </a:r>
          </a:p>
          <a:p>
            <a:pPr marL="171450" indent="-171450">
              <a:spcAft>
                <a:spcPts val="300"/>
              </a:spcAft>
              <a:buFont typeface="Arial" panose="020B0604020202020204" pitchFamily="34" charset="0"/>
              <a:buChar char="•"/>
            </a:pPr>
            <a:endParaRPr lang="fi-FI" sz="800" dirty="0">
              <a:solidFill>
                <a:schemeClr val="bg1"/>
              </a:solidFill>
              <a:latin typeface="+mj-lt"/>
            </a:endParaRPr>
          </a:p>
          <a:p>
            <a:pPr marL="171450" indent="-171450">
              <a:spcAft>
                <a:spcPts val="300"/>
              </a:spcAft>
              <a:buFont typeface="Arial" panose="020B0604020202020204" pitchFamily="34" charset="0"/>
              <a:buChar char="•"/>
            </a:pPr>
            <a:r>
              <a:rPr lang="fi-FI" sz="800" dirty="0">
                <a:solidFill>
                  <a:schemeClr val="bg1"/>
                </a:solidFill>
                <a:latin typeface="+mj-lt"/>
              </a:rPr>
              <a:t>Strategia on määrä julkistaa joulukuussa 2024.</a:t>
            </a:r>
          </a:p>
          <a:p>
            <a:pPr marL="171450" indent="-171450">
              <a:spcAft>
                <a:spcPts val="300"/>
              </a:spcAft>
              <a:buFont typeface="Arial" panose="020B0604020202020204" pitchFamily="34" charset="0"/>
              <a:buChar char="•"/>
            </a:pPr>
            <a:endParaRPr lang="fi-FI" sz="800" dirty="0">
              <a:solidFill>
                <a:schemeClr val="bg1"/>
              </a:solidFill>
              <a:latin typeface="+mj-lt"/>
            </a:endParaRP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2462213"/>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Suomen edellisessä vuoden 2010 mineraalistrategiassa on tunnistettu luonnonvarojen saatavuuden ja tuotannon merkitys sekä mineraalivarojen epätasaisesta maantieteellisestä jakautumisesta aiheutuvat riskit.</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Vihreän ja digitaalisen siirtymän tavoitteiden saavuttamisen odotetaan lisäävän raaka-aineiden tarvetta. Raaka-aineiden saatavuus on keskeistä myös puolustussektorille.</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Viime vuosien kriisit, kuten koronapandemia ja Venäjän hyökkäyssota Ukrainaan ovat osoittaneet niin Suomen kuin koko EU:nkin raaka-ainehuollon haavoittuvuuden.</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Mineraalistrategian tavoitteena on yhteisen näkemyksen luominen suomalaisen mineraaliklusterin tilanteesta, politiikan tavoitteista ja päälinjoista. Työn keskeinen tavoite on edistää suomalaisen mineraaliklusterin kasvua puhtaan siirtymän ja Euroopan strategisen autonomian vahvistamiseksi. Lisäksi strategiassa pyritään lisäämään kaivosteollisuuden raaka-aineiden jalostusarvoa.</a:t>
            </a:r>
          </a:p>
          <a:p>
            <a:pPr marL="171450" lvl="0" indent="-171450">
              <a:spcAft>
                <a:spcPts val="300"/>
              </a:spcAft>
              <a:buFont typeface="Arial" panose="020B0604020202020204" pitchFamily="34" charset="0"/>
              <a:buChar char="•"/>
            </a:pPr>
            <a:r>
              <a:rPr lang="fi-FI" sz="800" dirty="0">
                <a:solidFill>
                  <a:schemeClr val="bg1"/>
                </a:solidFill>
                <a:effectLst/>
                <a:latin typeface="Verdana" panose="020B0604030504040204" pitchFamily="34" charset="0"/>
                <a:ea typeface="Verdana" panose="020B0604030504040204" pitchFamily="34" charset="0"/>
                <a:cs typeface="Times New Roman" panose="02020603050405020304" pitchFamily="18" charset="0"/>
              </a:rPr>
              <a:t>Mineraalistrategian on määrä valmistua vuoden 2024 loppuun mennessä. </a:t>
            </a:r>
          </a:p>
        </p:txBody>
      </p:sp>
      <p:sp>
        <p:nvSpPr>
          <p:cNvPr id="6" name="Päivämäärän paikkamerkki 3">
            <a:extLst>
              <a:ext uri="{FF2B5EF4-FFF2-40B4-BE49-F238E27FC236}">
                <a16:creationId xmlns:a16="http://schemas.microsoft.com/office/drawing/2014/main" id="{1E27535C-F5F3-7B9C-DA39-704FB9C2E896}"/>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1841530469"/>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3636169" y="1199564"/>
            <a:ext cx="5156251" cy="3525565"/>
          </a:xfrm>
          <a:prstGeom prst="rect">
            <a:avLst/>
          </a:prstGeom>
          <a:solidFill>
            <a:schemeClr val="accent4"/>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3047739" cy="3525565"/>
          </a:xfrm>
          <a:prstGeom prst="rect">
            <a:avLst/>
          </a:prstGeom>
          <a:solidFill>
            <a:schemeClr val="accent4"/>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3</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a:t>Vientiohjelmat</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4385425" cy="250837"/>
          </a:xfrm>
          <a:prstGeom prst="rect">
            <a:avLst/>
          </a:prstGeom>
          <a:solidFill>
            <a:schemeClr val="accent4"/>
          </a:solidFill>
        </p:spPr>
        <p:txBody>
          <a:bodyPr>
            <a:noAutofit/>
          </a:bodyPr>
          <a:lstStyle/>
          <a:p>
            <a:pPr marL="288000"/>
            <a:r>
              <a:rPr lang="fi-FI" dirty="0">
                <a:solidFill>
                  <a:schemeClr val="bg1"/>
                </a:solidFill>
              </a:rPr>
              <a:t>Vientiohjelmien yhteenveto</a:t>
            </a: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3044673"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a:solidFill>
                  <a:srgbClr val="FFFFFF"/>
                </a:solidFill>
              </a:rPr>
              <a:t>Vientiohjelmien kuvaus</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1" y="1566746"/>
            <a:ext cx="3034558" cy="2816156"/>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fi-FI" sz="800" dirty="0">
                <a:solidFill>
                  <a:schemeClr val="bg1"/>
                </a:solidFill>
                <a:latin typeface="+mj-lt"/>
              </a:rPr>
              <a:t>Business Finlandilla on eri aloille suuntautuvia vientiohjelmia, joiden tavoitteena on hyödyntää uusia markkinamahdollisuuksia suomalaisyrityksille.</a:t>
            </a:r>
          </a:p>
          <a:p>
            <a:pPr marL="171450" indent="-171450">
              <a:spcAft>
                <a:spcPts val="300"/>
              </a:spcAft>
              <a:buFont typeface="Arial" panose="020B0604020202020204" pitchFamily="34" charset="0"/>
              <a:buChar char="•"/>
            </a:pPr>
            <a:r>
              <a:rPr lang="fi-FI" sz="800" dirty="0">
                <a:solidFill>
                  <a:schemeClr val="bg1"/>
                </a:solidFill>
                <a:latin typeface="+mj-lt"/>
              </a:rPr>
              <a:t>Myös suunnittelu- ja konsultointialan yritykset voivat hyötyä vientiohjelmista.</a:t>
            </a:r>
          </a:p>
          <a:p>
            <a:pPr marL="171450" indent="-171450">
              <a:spcAft>
                <a:spcPts val="300"/>
              </a:spcAft>
              <a:buFont typeface="Arial" panose="020B0604020202020204" pitchFamily="34" charset="0"/>
              <a:buChar char="•"/>
            </a:pPr>
            <a:endParaRPr lang="fi-FI" sz="800" dirty="0">
              <a:solidFill>
                <a:schemeClr val="bg1"/>
              </a:solidFill>
              <a:latin typeface="+mj-lt"/>
            </a:endParaRPr>
          </a:p>
          <a:p>
            <a:pPr marL="171450" indent="-171450">
              <a:spcAft>
                <a:spcPts val="300"/>
              </a:spcAft>
              <a:buFont typeface="Arial" panose="020B0604020202020204" pitchFamily="34" charset="0"/>
              <a:buChar char="•"/>
            </a:pPr>
            <a:r>
              <a:rPr lang="fi-FI" sz="800" dirty="0">
                <a:solidFill>
                  <a:schemeClr val="bg1"/>
                </a:solidFill>
                <a:latin typeface="+mj-lt"/>
              </a:rPr>
              <a:t>Vientiohjelmissaan Business Finland</a:t>
            </a:r>
          </a:p>
          <a:p>
            <a:pPr marL="511382" lvl="1" indent="-171450">
              <a:spcAft>
                <a:spcPts val="300"/>
              </a:spcAft>
              <a:buFont typeface="Arial" panose="020B0604020202020204" pitchFamily="34" charset="0"/>
              <a:buChar char="•"/>
            </a:pPr>
            <a:r>
              <a:rPr lang="fi-FI" sz="800" dirty="0">
                <a:solidFill>
                  <a:schemeClr val="bg1"/>
                </a:solidFill>
                <a:latin typeface="+mj-lt"/>
              </a:rPr>
              <a:t>Neuvoo yrityksiä markkinoille menossa ja kumppanuuksien rakentamisessa </a:t>
            </a:r>
          </a:p>
          <a:p>
            <a:pPr marL="511382" lvl="1" indent="-171450">
              <a:spcAft>
                <a:spcPts val="300"/>
              </a:spcAft>
              <a:buFont typeface="Arial" panose="020B0604020202020204" pitchFamily="34" charset="0"/>
              <a:buChar char="•"/>
            </a:pPr>
            <a:r>
              <a:rPr lang="fi-FI" sz="800" dirty="0">
                <a:solidFill>
                  <a:schemeClr val="bg1"/>
                </a:solidFill>
                <a:latin typeface="+mj-lt"/>
              </a:rPr>
              <a:t>Auttaa uusien, kasvavien markkinoiden ja asiakkaiden tunnistamisessa </a:t>
            </a:r>
          </a:p>
          <a:p>
            <a:pPr marL="511382" lvl="1" indent="-171450">
              <a:spcAft>
                <a:spcPts val="300"/>
              </a:spcAft>
              <a:buFont typeface="Arial" panose="020B0604020202020204" pitchFamily="34" charset="0"/>
              <a:buChar char="•"/>
            </a:pPr>
            <a:r>
              <a:rPr lang="fi-FI" sz="800" dirty="0">
                <a:solidFill>
                  <a:schemeClr val="bg1"/>
                </a:solidFill>
                <a:latin typeface="+mj-lt"/>
              </a:rPr>
              <a:t>Tukee kansainvälisessä verkostoitumisessa</a:t>
            </a:r>
          </a:p>
          <a:p>
            <a:pPr marL="511382" lvl="1" indent="-171450">
              <a:spcAft>
                <a:spcPts val="300"/>
              </a:spcAft>
              <a:buFont typeface="Arial" panose="020B0604020202020204" pitchFamily="34" charset="0"/>
              <a:buChar char="•"/>
            </a:pPr>
            <a:r>
              <a:rPr lang="fi-FI" sz="800" dirty="0">
                <a:solidFill>
                  <a:schemeClr val="bg1"/>
                </a:solidFill>
                <a:latin typeface="+mj-lt"/>
              </a:rPr>
              <a:t>Tukee uudistumisessa innovaatioiden avulla</a:t>
            </a:r>
          </a:p>
          <a:p>
            <a:pPr marL="511382" lvl="1" indent="-171450">
              <a:spcAft>
                <a:spcPts val="300"/>
              </a:spcAft>
              <a:buFont typeface="Arial" panose="020B0604020202020204" pitchFamily="34" charset="0"/>
              <a:buChar char="•"/>
            </a:pPr>
            <a:r>
              <a:rPr lang="fi-FI" sz="800" dirty="0">
                <a:solidFill>
                  <a:schemeClr val="bg1"/>
                </a:solidFill>
                <a:latin typeface="+mj-lt"/>
              </a:rPr>
              <a:t>Luo suomalaisia yhteistarjoamia, jotka tuovat yrityksille näkyvyyttä kohdemarkkinoilla</a:t>
            </a:r>
          </a:p>
          <a:p>
            <a:pPr marL="511382" lvl="1" indent="-171450">
              <a:spcAft>
                <a:spcPts val="300"/>
              </a:spcAft>
              <a:buFont typeface="Arial" panose="020B0604020202020204" pitchFamily="34" charset="0"/>
              <a:buChar char="•"/>
            </a:pPr>
            <a:r>
              <a:rPr lang="fi-FI" sz="800" dirty="0">
                <a:solidFill>
                  <a:schemeClr val="bg1"/>
                </a:solidFill>
                <a:latin typeface="+mj-lt"/>
              </a:rPr>
              <a:t>Yhdistää yrityksiä ja kansainvälisiä sijoittajia toisiinsa rahoitusmahdollisuuksien edistämiseksi</a:t>
            </a:r>
          </a:p>
          <a:p>
            <a:pPr marL="171450" indent="-171450">
              <a:spcAft>
                <a:spcPts val="300"/>
              </a:spcAft>
              <a:buFont typeface="Arial" panose="020B0604020202020204" pitchFamily="34" charset="0"/>
              <a:buChar char="•"/>
            </a:pPr>
            <a:endParaRPr lang="fi-FI" sz="800" dirty="0">
              <a:solidFill>
                <a:schemeClr val="bg1"/>
              </a:solidFill>
              <a:latin typeface="+mj-lt"/>
            </a:endParaRPr>
          </a:p>
        </p:txBody>
      </p:sp>
      <p:graphicFrame>
        <p:nvGraphicFramePr>
          <p:cNvPr id="7" name="Table 6">
            <a:extLst>
              <a:ext uri="{FF2B5EF4-FFF2-40B4-BE49-F238E27FC236}">
                <a16:creationId xmlns:a16="http://schemas.microsoft.com/office/drawing/2014/main" id="{DA6853BD-BC8F-5D2F-7389-409917F654B2}"/>
              </a:ext>
            </a:extLst>
          </p:cNvPr>
          <p:cNvGraphicFramePr>
            <a:graphicFrameLocks noGrp="1"/>
          </p:cNvGraphicFramePr>
          <p:nvPr>
            <p:extLst>
              <p:ext uri="{D42A27DB-BD31-4B8C-83A1-F6EECF244321}">
                <p14:modId xmlns:p14="http://schemas.microsoft.com/office/powerpoint/2010/main" val="4088846230"/>
              </p:ext>
            </p:extLst>
          </p:nvPr>
        </p:nvGraphicFramePr>
        <p:xfrm>
          <a:off x="3636170" y="1199564"/>
          <a:ext cx="5156250" cy="3525563"/>
        </p:xfrm>
        <a:graphic>
          <a:graphicData uri="http://schemas.openxmlformats.org/drawingml/2006/table">
            <a:tbl>
              <a:tblPr firstRow="1" firstCol="1" bandRow="1">
                <a:tableStyleId>{5C22544A-7EE6-4342-B048-85BDC9FD1C3A}</a:tableStyleId>
              </a:tblPr>
              <a:tblGrid>
                <a:gridCol w="1248662">
                  <a:extLst>
                    <a:ext uri="{9D8B030D-6E8A-4147-A177-3AD203B41FA5}">
                      <a16:colId xmlns:a16="http://schemas.microsoft.com/office/drawing/2014/main" val="1878844320"/>
                    </a:ext>
                  </a:extLst>
                </a:gridCol>
                <a:gridCol w="3907588">
                  <a:extLst>
                    <a:ext uri="{9D8B030D-6E8A-4147-A177-3AD203B41FA5}">
                      <a16:colId xmlns:a16="http://schemas.microsoft.com/office/drawing/2014/main" val="2631106326"/>
                    </a:ext>
                  </a:extLst>
                </a:gridCol>
              </a:tblGrid>
              <a:tr h="300048">
                <a:tc>
                  <a:txBody>
                    <a:bodyPr/>
                    <a:lstStyle/>
                    <a:p>
                      <a:pPr algn="l">
                        <a:lnSpc>
                          <a:spcPct val="100000"/>
                        </a:lnSpc>
                      </a:pPr>
                      <a:r>
                        <a:rPr lang="fi-FI" sz="700" b="1" dirty="0">
                          <a:solidFill>
                            <a:schemeClr val="bg1"/>
                          </a:solidFill>
                          <a:effectLst/>
                          <a:latin typeface="+mj-lt"/>
                        </a:rPr>
                        <a:t>6G Bridge</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on tehdä Suomesta maailman johtava keskus 5G </a:t>
                      </a:r>
                      <a:r>
                        <a:rPr lang="fi-FI" sz="700" b="0" dirty="0" err="1">
                          <a:solidFill>
                            <a:schemeClr val="bg1"/>
                          </a:solidFill>
                          <a:effectLst/>
                          <a:latin typeface="+mj-lt"/>
                        </a:rPr>
                        <a:t>Advanced-</a:t>
                      </a:r>
                      <a:r>
                        <a:rPr lang="fi-FI" sz="700" b="0" dirty="0">
                          <a:solidFill>
                            <a:schemeClr val="bg1"/>
                          </a:solidFill>
                          <a:effectLst/>
                          <a:latin typeface="+mj-lt"/>
                        </a:rPr>
                        <a:t> ja 6G-teknologioihin ja kestävään kehitykseen perustuvassa liiketoiminnassa.</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8478026"/>
                  </a:ext>
                </a:extLst>
              </a:tr>
              <a:tr h="300048">
                <a:tc>
                  <a:txBody>
                    <a:bodyPr/>
                    <a:lstStyle/>
                    <a:p>
                      <a:pPr algn="l">
                        <a:lnSpc>
                          <a:spcPct val="100000"/>
                        </a:lnSpc>
                      </a:pPr>
                      <a:r>
                        <a:rPr lang="fi-FI" sz="700" b="1" dirty="0">
                          <a:solidFill>
                            <a:schemeClr val="bg1"/>
                          </a:solidFill>
                          <a:effectLst/>
                          <a:latin typeface="+mj-lt"/>
                        </a:rPr>
                        <a:t>Data </a:t>
                      </a:r>
                      <a:r>
                        <a:rPr lang="fi-FI" sz="700" b="1" dirty="0" err="1">
                          <a:solidFill>
                            <a:schemeClr val="bg1"/>
                          </a:solidFill>
                          <a:effectLst/>
                          <a:latin typeface="+mj-lt"/>
                        </a:rPr>
                        <a:t>Economy</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on kannustaa suomalaisia yrityksiä kehittämään datan hyödyntämiseen ja jakamiseen perustuvaa kansainvälistä liiketoimintaa.</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3866942"/>
                  </a:ext>
                </a:extLst>
              </a:tr>
              <a:tr h="400065">
                <a:tc>
                  <a:txBody>
                    <a:bodyPr/>
                    <a:lstStyle/>
                    <a:p>
                      <a:pPr algn="l">
                        <a:lnSpc>
                          <a:spcPct val="100000"/>
                        </a:lnSpc>
                      </a:pPr>
                      <a:r>
                        <a:rPr lang="fi-FI" sz="700" b="1" dirty="0" err="1">
                          <a:solidFill>
                            <a:schemeClr val="bg1"/>
                          </a:solidFill>
                          <a:effectLst/>
                          <a:latin typeface="+mj-lt"/>
                        </a:rPr>
                        <a:t>Decarbonized</a:t>
                      </a:r>
                      <a:r>
                        <a:rPr lang="fi-FI" sz="700" b="1" dirty="0">
                          <a:solidFill>
                            <a:schemeClr val="bg1"/>
                          </a:solidFill>
                          <a:effectLst/>
                          <a:latin typeface="+mj-lt"/>
                        </a:rPr>
                        <a:t> </a:t>
                      </a:r>
                      <a:r>
                        <a:rPr lang="fi-FI" sz="700" b="1" dirty="0" err="1">
                          <a:solidFill>
                            <a:schemeClr val="bg1"/>
                          </a:solidFill>
                          <a:effectLst/>
                          <a:latin typeface="+mj-lt"/>
                        </a:rPr>
                        <a:t>Maritime</a:t>
                      </a:r>
                      <a:r>
                        <a:rPr lang="fi-FI" sz="700" b="1" dirty="0">
                          <a:solidFill>
                            <a:schemeClr val="bg1"/>
                          </a:solidFill>
                          <a:effectLst/>
                          <a:latin typeface="+mj-lt"/>
                        </a:rPr>
                        <a:t> and </a:t>
                      </a:r>
                      <a:r>
                        <a:rPr lang="fi-FI" sz="700" b="1" dirty="0" err="1">
                          <a:solidFill>
                            <a:schemeClr val="bg1"/>
                          </a:solidFill>
                          <a:effectLst/>
                          <a:latin typeface="+mj-lt"/>
                        </a:rPr>
                        <a:t>Ports</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auttaa Suomea </a:t>
                      </a:r>
                      <a:r>
                        <a:rPr lang="fi-FI" sz="700" b="0" dirty="0" err="1">
                          <a:solidFill>
                            <a:schemeClr val="bg1"/>
                          </a:solidFill>
                          <a:effectLst/>
                          <a:latin typeface="+mj-lt"/>
                        </a:rPr>
                        <a:t>positioimaan</a:t>
                      </a:r>
                      <a:r>
                        <a:rPr lang="fi-FI" sz="700" b="0" dirty="0">
                          <a:solidFill>
                            <a:schemeClr val="bg1"/>
                          </a:solidFill>
                          <a:effectLst/>
                          <a:latin typeface="+mj-lt"/>
                        </a:rPr>
                        <a:t> itsensä yhdeksi johtavista kansainvälisistä meriteollisuus- ja satama-alan toimijoista digitaalisuuden ja kestävän kehityksen ratkaisuiden ja kumppanuuksien osalta.</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6631135"/>
                  </a:ext>
                </a:extLst>
              </a:tr>
              <a:tr h="400065">
                <a:tc>
                  <a:txBody>
                    <a:bodyPr/>
                    <a:lstStyle/>
                    <a:p>
                      <a:pPr algn="l">
                        <a:lnSpc>
                          <a:spcPct val="100000"/>
                        </a:lnSpc>
                      </a:pPr>
                      <a:r>
                        <a:rPr lang="fi-FI" sz="700" b="1" dirty="0" err="1">
                          <a:solidFill>
                            <a:schemeClr val="bg1"/>
                          </a:solidFill>
                          <a:effectLst/>
                          <a:latin typeface="+mj-lt"/>
                        </a:rPr>
                        <a:t>Flexible</a:t>
                      </a:r>
                      <a:r>
                        <a:rPr lang="fi-FI" sz="700" b="1" dirty="0">
                          <a:solidFill>
                            <a:schemeClr val="bg1"/>
                          </a:solidFill>
                          <a:effectLst/>
                          <a:latin typeface="+mj-lt"/>
                        </a:rPr>
                        <a:t> Energy Systems</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edistää tulevaisuuteen suuntautuvia innovaatioita ja suomalaisia energiainfrastruktuurin joustavuutta lisääviä ratkaisuja, joiden tavoitteena on vahvistaa merkittävästi vientiteollisuutta ja lisätä vientiä maailmanlaajuisesti.</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3570778"/>
                  </a:ext>
                </a:extLst>
              </a:tr>
              <a:tr h="320996">
                <a:tc>
                  <a:txBody>
                    <a:bodyPr/>
                    <a:lstStyle/>
                    <a:p>
                      <a:pPr algn="l">
                        <a:lnSpc>
                          <a:spcPct val="100000"/>
                        </a:lnSpc>
                      </a:pPr>
                      <a:r>
                        <a:rPr lang="fi-FI" sz="700" b="1" dirty="0">
                          <a:solidFill>
                            <a:schemeClr val="bg1"/>
                          </a:solidFill>
                          <a:effectLst/>
                          <a:latin typeface="+mj-lt"/>
                        </a:rPr>
                        <a:t>Health 360 Finland</a:t>
                      </a:r>
                      <a:endParaRPr lang="fi-FI" sz="700" b="1" dirty="0">
                        <a:solidFill>
                          <a:schemeClr val="bg1"/>
                        </a:solidFill>
                        <a:effectLst/>
                        <a:latin typeface="+mj-lt"/>
                        <a:ea typeface="Verdana" panose="020B0604030504040204" pitchFamily="34" charset="0"/>
                        <a:cs typeface="Times New Roman" panose="02020603050405020304" pitchFamily="18" charset="0"/>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ea typeface="Verdana" panose="020B0604030504040204" pitchFamily="34" charset="0"/>
                          <a:cs typeface="Times New Roman" panose="02020603050405020304" pitchFamily="18" charset="0"/>
                        </a:rPr>
                        <a:t>Tavoitteena on tukea suomalaisia yrityksiä kehittämään ja kaupallistamaan kansainvälisesti kilpailukykyisiä ratkaisuja, joilla voidaan vastata terveyssektorin globaaleihin haasteisiin.</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2251916"/>
                  </a:ext>
                </a:extLst>
              </a:tr>
              <a:tr h="320996">
                <a:tc>
                  <a:txBody>
                    <a:bodyPr/>
                    <a:lstStyle/>
                    <a:p>
                      <a:pPr algn="l">
                        <a:lnSpc>
                          <a:spcPct val="100000"/>
                        </a:lnSpc>
                      </a:pPr>
                      <a:r>
                        <a:rPr lang="fi-FI" sz="700" b="1" dirty="0" err="1">
                          <a:solidFill>
                            <a:schemeClr val="bg1"/>
                          </a:solidFill>
                          <a:effectLst/>
                          <a:latin typeface="+mj-lt"/>
                        </a:rPr>
                        <a:t>Quantum</a:t>
                      </a:r>
                      <a:r>
                        <a:rPr lang="fi-FI" sz="700" b="1" dirty="0">
                          <a:solidFill>
                            <a:schemeClr val="bg1"/>
                          </a:solidFill>
                          <a:effectLst/>
                          <a:latin typeface="+mj-lt"/>
                        </a:rPr>
                        <a:t> Computing</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on rakentaa Suomeen globaalisti houkutteleva ekosysteemi ratkaisemaan suomalaisten ja ulkomaisten yritysten liiketoiminnan haasteita kvanttilaskennan avulla.</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550825"/>
                  </a:ext>
                </a:extLst>
              </a:tr>
              <a:tr h="227291">
                <a:tc>
                  <a:txBody>
                    <a:bodyPr/>
                    <a:lstStyle/>
                    <a:p>
                      <a:pPr algn="l">
                        <a:lnSpc>
                          <a:spcPct val="100000"/>
                        </a:lnSpc>
                      </a:pPr>
                      <a:r>
                        <a:rPr lang="fi-FI" sz="700" b="1" dirty="0">
                          <a:solidFill>
                            <a:schemeClr val="bg1"/>
                          </a:solidFill>
                          <a:effectLst/>
                          <a:latin typeface="+mj-lt"/>
                        </a:rPr>
                        <a:t>The Chips </a:t>
                      </a:r>
                      <a:r>
                        <a:rPr lang="fi-FI" sz="700" b="1" dirty="0" err="1">
                          <a:solidFill>
                            <a:schemeClr val="bg1"/>
                          </a:solidFill>
                          <a:effectLst/>
                          <a:latin typeface="+mj-lt"/>
                        </a:rPr>
                        <a:t>Campaign</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on kiihdyttää suomalaisen mikroelektroniikan, fotoniikan ja kvanttialan yritysten kansainvälistä kasvua.</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5592528"/>
                  </a:ext>
                </a:extLst>
              </a:tr>
              <a:tr h="320996">
                <a:tc>
                  <a:txBody>
                    <a:bodyPr/>
                    <a:lstStyle/>
                    <a:p>
                      <a:pPr algn="l">
                        <a:lnSpc>
                          <a:spcPct val="100000"/>
                        </a:lnSpc>
                      </a:pPr>
                      <a:r>
                        <a:rPr lang="fi-FI" sz="700" b="1" dirty="0" err="1">
                          <a:solidFill>
                            <a:schemeClr val="bg1"/>
                          </a:solidFill>
                          <a:effectLst/>
                          <a:latin typeface="+mj-lt"/>
                        </a:rPr>
                        <a:t>Decarbonized</a:t>
                      </a:r>
                      <a:r>
                        <a:rPr lang="fi-FI" sz="700" b="1" dirty="0">
                          <a:solidFill>
                            <a:schemeClr val="bg1"/>
                          </a:solidFill>
                          <a:effectLst/>
                          <a:latin typeface="+mj-lt"/>
                        </a:rPr>
                        <a:t> </a:t>
                      </a:r>
                      <a:r>
                        <a:rPr lang="fi-FI" sz="700" b="1" dirty="0" err="1">
                          <a:solidFill>
                            <a:schemeClr val="bg1"/>
                          </a:solidFill>
                          <a:effectLst/>
                          <a:latin typeface="+mj-lt"/>
                        </a:rPr>
                        <a:t>Cities</a:t>
                      </a:r>
                      <a:r>
                        <a:rPr lang="fi-FI" sz="700" b="1" dirty="0">
                          <a:solidFill>
                            <a:schemeClr val="bg1"/>
                          </a:solidFill>
                          <a:effectLst/>
                          <a:latin typeface="+mj-lt"/>
                        </a:rPr>
                        <a:t> Finland</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rakentaa kumppanuuksia valikoitujen ulkomaisten kaupunkien kanssa. Yritykset pääsevät sekä myymään että kehittämään ratkaisuja kaupunkien haasteisiin.</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1419473"/>
                  </a:ext>
                </a:extLst>
              </a:tr>
              <a:tr h="320996">
                <a:tc>
                  <a:txBody>
                    <a:bodyPr/>
                    <a:lstStyle/>
                    <a:p>
                      <a:pPr algn="l">
                        <a:lnSpc>
                          <a:spcPct val="100000"/>
                        </a:lnSpc>
                      </a:pPr>
                      <a:r>
                        <a:rPr lang="fi-FI" sz="700" b="1" dirty="0">
                          <a:solidFill>
                            <a:schemeClr val="bg1"/>
                          </a:solidFill>
                          <a:effectLst/>
                          <a:latin typeface="+mj-lt"/>
                        </a:rPr>
                        <a:t>Digital </a:t>
                      </a:r>
                      <a:r>
                        <a:rPr lang="fi-FI" sz="700" b="1" dirty="0" err="1">
                          <a:solidFill>
                            <a:schemeClr val="bg1"/>
                          </a:solidFill>
                          <a:effectLst/>
                          <a:latin typeface="+mj-lt"/>
                        </a:rPr>
                        <a:t>Resilience</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on rohkaista suomalaisia yrityksiä ja tutkimusorganisaatioita luomaan digitaalisia edelläkävijäratkaisuja yhteiskuntien </a:t>
                      </a:r>
                      <a:r>
                        <a:rPr lang="fi-FI" sz="700" b="0" dirty="0" err="1">
                          <a:solidFill>
                            <a:schemeClr val="bg1"/>
                          </a:solidFill>
                          <a:effectLst/>
                          <a:latin typeface="+mj-lt"/>
                        </a:rPr>
                        <a:t>resilienssin</a:t>
                      </a:r>
                      <a:r>
                        <a:rPr lang="fi-FI" sz="700" b="0" dirty="0">
                          <a:solidFill>
                            <a:schemeClr val="bg1"/>
                          </a:solidFill>
                          <a:effectLst/>
                          <a:latin typeface="+mj-lt"/>
                        </a:rPr>
                        <a:t> ja turvallisuuden kasvattamiseksi.</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620503"/>
                  </a:ext>
                </a:extLst>
              </a:tr>
              <a:tr h="213997">
                <a:tc>
                  <a:txBody>
                    <a:bodyPr/>
                    <a:lstStyle/>
                    <a:p>
                      <a:pPr algn="l">
                        <a:lnSpc>
                          <a:spcPct val="100000"/>
                        </a:lnSpc>
                      </a:pPr>
                      <a:r>
                        <a:rPr lang="fi-FI" sz="700" b="1" dirty="0">
                          <a:solidFill>
                            <a:schemeClr val="bg1"/>
                          </a:solidFill>
                          <a:effectLst/>
                          <a:latin typeface="+mj-lt"/>
                        </a:rPr>
                        <a:t>Generatiivinen tekoäly</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kern="1200" dirty="0">
                          <a:solidFill>
                            <a:schemeClr val="bg1"/>
                          </a:solidFill>
                          <a:effectLst/>
                          <a:latin typeface="+mn-lt"/>
                          <a:ea typeface="+mn-ea"/>
                          <a:cs typeface="+mn-cs"/>
                        </a:rPr>
                        <a:t>Tavoitteena kiihdyttää generatiiviseen tekoälyyn liittyvää innovaatiotoimintaa yritysten globaalin kilpailukyvyn lisäämiseksi.</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0835444"/>
                  </a:ext>
                </a:extLst>
              </a:tr>
              <a:tr h="400065">
                <a:tc>
                  <a:txBody>
                    <a:bodyPr/>
                    <a:lstStyle/>
                    <a:p>
                      <a:pPr algn="l">
                        <a:lnSpc>
                          <a:spcPct val="100000"/>
                        </a:lnSpc>
                      </a:pPr>
                      <a:r>
                        <a:rPr lang="en-US" sz="700" b="1" dirty="0">
                          <a:solidFill>
                            <a:schemeClr val="bg1"/>
                          </a:solidFill>
                          <a:effectLst/>
                          <a:latin typeface="+mj-lt"/>
                        </a:rPr>
                        <a:t>Hydrogen &amp; batteries – dual helix of decarbonization</a:t>
                      </a:r>
                      <a:endParaRPr lang="fi-FI" sz="700" b="1" dirty="0">
                        <a:solidFill>
                          <a:schemeClr val="bg1"/>
                        </a:solidFill>
                        <a:effectLst/>
                        <a:latin typeface="+mj-lt"/>
                      </a:endParaRP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fi-FI" sz="700" b="0" dirty="0">
                          <a:solidFill>
                            <a:schemeClr val="bg1"/>
                          </a:solidFill>
                          <a:effectLst/>
                          <a:latin typeface="+mj-lt"/>
                        </a:rPr>
                        <a:t>Tavoitteena edistää suomalaisen vety- ja akkuteollisuuden kehittymistä ja nopeaa kansainvälistä kasvua.</a:t>
                      </a:r>
                    </a:p>
                  </a:txBody>
                  <a:tcPr marL="30418" marR="30418" marT="0" marB="0"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8656256"/>
                  </a:ext>
                </a:extLst>
              </a:tr>
            </a:tbl>
          </a:graphicData>
        </a:graphic>
      </p:graphicFrame>
      <p:sp>
        <p:nvSpPr>
          <p:cNvPr id="6" name="Päivämäärän paikkamerkki 3">
            <a:extLst>
              <a:ext uri="{FF2B5EF4-FFF2-40B4-BE49-F238E27FC236}">
                <a16:creationId xmlns:a16="http://schemas.microsoft.com/office/drawing/2014/main" id="{F161AD25-445D-FD43-2586-0114983E58D4}"/>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244768417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8454020" cy="3525565"/>
          </a:xfrm>
          <a:prstGeom prst="rect">
            <a:avLst/>
          </a:pr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14</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a:t>Yhteenveto markkinamahdollisuuksista</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2" y="290513"/>
            <a:ext cx="4385425" cy="250837"/>
          </a:xfrm>
          <a:prstGeom prst="rect">
            <a:avLst/>
          </a:prstGeom>
          <a:solidFill>
            <a:schemeClr val="accent2"/>
          </a:solidFill>
        </p:spPr>
        <p:txBody>
          <a:bodyPr>
            <a:noAutofit/>
          </a:bodyPr>
          <a:lstStyle/>
          <a:p>
            <a:pPr marL="288000"/>
            <a:r>
              <a:rPr lang="fi-FI" dirty="0">
                <a:solidFill>
                  <a:schemeClr val="bg1"/>
                </a:solidFill>
              </a:rPr>
              <a:t>Markkinamahdollisuudet SKOL-yrityksille</a:t>
            </a:r>
          </a:p>
        </p:txBody>
      </p:sp>
      <p:sp>
        <p:nvSpPr>
          <p:cNvPr id="11" name="TextBox 10">
            <a:extLst>
              <a:ext uri="{FF2B5EF4-FFF2-40B4-BE49-F238E27FC236}">
                <a16:creationId xmlns:a16="http://schemas.microsoft.com/office/drawing/2014/main" id="{86F0B53E-3462-216A-1FEB-0842AEA66D0A}"/>
              </a:ext>
            </a:extLst>
          </p:cNvPr>
          <p:cNvSpPr txBox="1"/>
          <p:nvPr/>
        </p:nvSpPr>
        <p:spPr>
          <a:xfrm>
            <a:off x="1027273" y="1252187"/>
            <a:ext cx="7765147" cy="3424014"/>
          </a:xfrm>
          <a:prstGeom prst="rect">
            <a:avLst/>
          </a:prstGeom>
          <a:noFill/>
        </p:spPr>
        <p:txBody>
          <a:bodyPr wrap="square" lIns="72000" rIns="72000">
            <a:spAutoFit/>
          </a:bodyPr>
          <a:lstStyle/>
          <a:p>
            <a:pPr>
              <a:spcAft>
                <a:spcPts val="1500"/>
              </a:spcAft>
            </a:pPr>
            <a:r>
              <a:rPr lang="fi-FI" sz="800" dirty="0">
                <a:solidFill>
                  <a:schemeClr val="bg1"/>
                </a:solidFill>
                <a:latin typeface="+mj-lt"/>
              </a:rPr>
              <a:t>Ylikansallinen ja kansallisen tason sääntely ja lainsäädännön uudistukset lisäävät kysyntää mm. vastuullisuus-, ympäristö- ja lakiasioiden osaamiselle.</a:t>
            </a:r>
          </a:p>
          <a:p>
            <a:pPr>
              <a:spcAft>
                <a:spcPts val="1500"/>
              </a:spcAft>
            </a:pPr>
            <a:r>
              <a:rPr lang="fi-FI" sz="800" dirty="0">
                <a:solidFill>
                  <a:schemeClr val="bg1"/>
                </a:solidFill>
                <a:latin typeface="+mj-lt"/>
              </a:rPr>
              <a:t>Vihreän siirtymän ja energiamurroksen monipuoliselle osaamiselle (mm. vastuullisuus, kestävät ratkaisut, uusiutuvat energiat, uudet teknologiat) kysyntää lähtien alkuvaiheen suunnittelusta tekniseen suunnitteluun, maankäyttöön, rakentamiseen ja ylläpitoon.</a:t>
            </a:r>
          </a:p>
          <a:p>
            <a:pPr>
              <a:spcAft>
                <a:spcPts val="1500"/>
              </a:spcAft>
            </a:pPr>
            <a:r>
              <a:rPr lang="fi-FI" sz="800" dirty="0">
                <a:solidFill>
                  <a:schemeClr val="bg1"/>
                </a:solidFill>
                <a:latin typeface="+mj-lt"/>
              </a:rPr>
              <a:t>Suomeen on kehitteillä paljon uusiutuvaa energiaa mutta sille tarvitaan myös käyttöä. </a:t>
            </a:r>
          </a:p>
          <a:p>
            <a:pPr>
              <a:spcAft>
                <a:spcPts val="1500"/>
              </a:spcAft>
            </a:pPr>
            <a:r>
              <a:rPr lang="fi-FI" sz="800" dirty="0">
                <a:solidFill>
                  <a:schemeClr val="bg1"/>
                </a:solidFill>
                <a:latin typeface="+mj-lt"/>
              </a:rPr>
              <a:t>Hiilidioksidin talteenottoon ja hyötykäyttöön liittyvän osaamisen kehittäminen ja markkinat.</a:t>
            </a:r>
          </a:p>
          <a:p>
            <a:pPr>
              <a:spcAft>
                <a:spcPts val="1500"/>
              </a:spcAft>
            </a:pPr>
            <a:r>
              <a:rPr lang="fi-FI" sz="800" dirty="0">
                <a:solidFill>
                  <a:schemeClr val="bg1"/>
                </a:solidFill>
                <a:latin typeface="+mj-lt"/>
              </a:rPr>
              <a:t>Huoltovarmuuteen, turvallisuuteen ja puolustusteollisuuteen liittyvissä hankkeissa potentiaalia.</a:t>
            </a:r>
          </a:p>
          <a:p>
            <a:pPr>
              <a:spcAft>
                <a:spcPts val="1500"/>
              </a:spcAft>
            </a:pPr>
            <a:r>
              <a:rPr lang="fi-FI" sz="800" dirty="0">
                <a:solidFill>
                  <a:schemeClr val="bg1"/>
                </a:solidFill>
                <a:latin typeface="+mj-lt"/>
              </a:rPr>
              <a:t>Suomen potentiaali datakeskushankkeissa ja niistä saadun datakeskusosaamisen vienti ulkomaille.</a:t>
            </a:r>
          </a:p>
          <a:p>
            <a:pPr>
              <a:spcAft>
                <a:spcPts val="1500"/>
              </a:spcAft>
            </a:pPr>
            <a:r>
              <a:rPr lang="fi-FI" sz="800" dirty="0">
                <a:solidFill>
                  <a:schemeClr val="bg1"/>
                </a:solidFill>
                <a:latin typeface="+mj-lt"/>
              </a:rPr>
              <a:t>Suomalaisen konsultointiosaaminen aktiivisempi markkinointi ja vienti maailmalle, hyödyntäen mm. BF vientiohjelmia.</a:t>
            </a:r>
          </a:p>
          <a:p>
            <a:pPr>
              <a:spcAft>
                <a:spcPts val="1500"/>
              </a:spcAft>
            </a:pPr>
            <a:r>
              <a:rPr lang="fi-FI" sz="800" dirty="0">
                <a:solidFill>
                  <a:schemeClr val="bg1"/>
                </a:solidFill>
                <a:latin typeface="+mj-lt"/>
              </a:rPr>
              <a:t>Suhdanteen parantuessa ulkomaisen työvoiman houkutteluun ja käyttöön tähtäävien kokeilujen toteuttaminen matalalla kynnyksellä, esim. </a:t>
            </a:r>
            <a:r>
              <a:rPr lang="fi-FI" sz="800" dirty="0" err="1">
                <a:solidFill>
                  <a:schemeClr val="bg1"/>
                </a:solidFill>
                <a:latin typeface="+mj-lt"/>
              </a:rPr>
              <a:t>kv</a:t>
            </a:r>
            <a:r>
              <a:rPr lang="fi-FI" sz="800" dirty="0">
                <a:solidFill>
                  <a:schemeClr val="bg1"/>
                </a:solidFill>
                <a:latin typeface="+mj-lt"/>
              </a:rPr>
              <a:t>-opiskelijan ottaminen kesätöihin tai harjoitteluun.</a:t>
            </a:r>
          </a:p>
          <a:p>
            <a:pPr>
              <a:spcAft>
                <a:spcPts val="1500"/>
              </a:spcAft>
            </a:pPr>
            <a:r>
              <a:rPr lang="fi-FI" sz="800" dirty="0" err="1">
                <a:solidFill>
                  <a:schemeClr val="bg1"/>
                </a:solidFill>
                <a:latin typeface="+mj-lt"/>
                <a:hlinkClick r:id="rId2"/>
              </a:rPr>
              <a:t>Work</a:t>
            </a:r>
            <a:r>
              <a:rPr lang="fi-FI" sz="800" dirty="0">
                <a:solidFill>
                  <a:schemeClr val="bg1"/>
                </a:solidFill>
                <a:latin typeface="+mj-lt"/>
                <a:hlinkClick r:id="rId2"/>
              </a:rPr>
              <a:t> in Finlandin </a:t>
            </a:r>
            <a:r>
              <a:rPr lang="fi-FI" sz="800" dirty="0" err="1">
                <a:solidFill>
                  <a:schemeClr val="bg1"/>
                </a:solidFill>
                <a:latin typeface="+mj-lt"/>
                <a:hlinkClick r:id="rId2"/>
              </a:rPr>
              <a:t>Talent</a:t>
            </a:r>
            <a:r>
              <a:rPr lang="fi-FI" sz="800" dirty="0">
                <a:solidFill>
                  <a:schemeClr val="bg1"/>
                </a:solidFill>
                <a:latin typeface="+mj-lt"/>
                <a:hlinkClick r:id="rId2"/>
              </a:rPr>
              <a:t> </a:t>
            </a:r>
            <a:r>
              <a:rPr lang="fi-FI" sz="800" dirty="0" err="1">
                <a:solidFill>
                  <a:schemeClr val="bg1"/>
                </a:solidFill>
                <a:latin typeface="+mj-lt"/>
                <a:hlinkClick r:id="rId2"/>
              </a:rPr>
              <a:t>Manager</a:t>
            </a:r>
            <a:r>
              <a:rPr lang="fi-FI" sz="800" dirty="0">
                <a:solidFill>
                  <a:schemeClr val="bg1"/>
                </a:solidFill>
                <a:latin typeface="+mj-lt"/>
                <a:hlinkClick r:id="rId2"/>
              </a:rPr>
              <a:t> Networkin </a:t>
            </a:r>
            <a:r>
              <a:rPr lang="fi-FI" sz="800" dirty="0">
                <a:solidFill>
                  <a:schemeClr val="bg1"/>
                </a:solidFill>
                <a:latin typeface="+mj-lt"/>
              </a:rPr>
              <a:t>hyödyntäminen ulkomaisen työvoiman rekrytoinnissa.</a:t>
            </a:r>
          </a:p>
          <a:p>
            <a:pPr>
              <a:spcAft>
                <a:spcPts val="1500"/>
              </a:spcAft>
            </a:pPr>
            <a:r>
              <a:rPr lang="fi-FI" sz="800" dirty="0">
                <a:solidFill>
                  <a:schemeClr val="bg1"/>
                </a:solidFill>
                <a:latin typeface="+mj-lt"/>
              </a:rPr>
              <a:t>Tekoälyn hyödyntämiseen tähtäävät kokeilut, potentiaalisesti myös yhteistyössä asiakkaiden tarpeisiin.</a:t>
            </a:r>
          </a:p>
        </p:txBody>
      </p:sp>
      <p:pic>
        <p:nvPicPr>
          <p:cNvPr id="12" name="Graphic 11" descr="Renewable Energy with solid fill">
            <a:extLst>
              <a:ext uri="{FF2B5EF4-FFF2-40B4-BE49-F238E27FC236}">
                <a16:creationId xmlns:a16="http://schemas.microsoft.com/office/drawing/2014/main" id="{BDD9EFFA-106E-3A72-AB46-BC3E31AC77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4350" y="1643843"/>
            <a:ext cx="360000" cy="360000"/>
          </a:xfrm>
          <a:prstGeom prst="rect">
            <a:avLst/>
          </a:prstGeom>
        </p:spPr>
      </p:pic>
      <p:pic>
        <p:nvPicPr>
          <p:cNvPr id="21" name="Graphic 20" descr="Shield with solid fill">
            <a:extLst>
              <a:ext uri="{FF2B5EF4-FFF2-40B4-BE49-F238E27FC236}">
                <a16:creationId xmlns:a16="http://schemas.microsoft.com/office/drawing/2014/main" id="{25BE60A3-8408-E4BB-3A83-867AA0F624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2682" y="2663063"/>
            <a:ext cx="360000" cy="360000"/>
          </a:xfrm>
          <a:prstGeom prst="rect">
            <a:avLst/>
          </a:prstGeom>
        </p:spPr>
      </p:pic>
      <p:pic>
        <p:nvPicPr>
          <p:cNvPr id="25" name="Graphic 24" descr="Group of men with solid fill">
            <a:extLst>
              <a:ext uri="{FF2B5EF4-FFF2-40B4-BE49-F238E27FC236}">
                <a16:creationId xmlns:a16="http://schemas.microsoft.com/office/drawing/2014/main" id="{80CB3943-7929-9017-8250-77163784C56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2556" y="3649999"/>
            <a:ext cx="360000" cy="360000"/>
          </a:xfrm>
          <a:prstGeom prst="rect">
            <a:avLst/>
          </a:prstGeom>
        </p:spPr>
      </p:pic>
      <p:pic>
        <p:nvPicPr>
          <p:cNvPr id="28" name="Graphic 27" descr="Cloud with solid fill">
            <a:extLst>
              <a:ext uri="{FF2B5EF4-FFF2-40B4-BE49-F238E27FC236}">
                <a16:creationId xmlns:a16="http://schemas.microsoft.com/office/drawing/2014/main" id="{47EB121D-3828-FFAC-ECDA-15D7E4850C8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2556" y="2975345"/>
            <a:ext cx="360000" cy="360000"/>
          </a:xfrm>
          <a:prstGeom prst="rect">
            <a:avLst/>
          </a:prstGeom>
        </p:spPr>
      </p:pic>
      <p:pic>
        <p:nvPicPr>
          <p:cNvPr id="32" name="Graphic 31" descr="Question Mark with solid fill">
            <a:extLst>
              <a:ext uri="{FF2B5EF4-FFF2-40B4-BE49-F238E27FC236}">
                <a16:creationId xmlns:a16="http://schemas.microsoft.com/office/drawing/2014/main" id="{264350E0-EA0B-846C-E61A-75C73805960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2682" y="2032419"/>
            <a:ext cx="360000" cy="360000"/>
          </a:xfrm>
          <a:prstGeom prst="rect">
            <a:avLst/>
          </a:prstGeom>
        </p:spPr>
      </p:pic>
      <p:pic>
        <p:nvPicPr>
          <p:cNvPr id="34" name="Graphic 33" descr="Puzzle with solid fill">
            <a:extLst>
              <a:ext uri="{FF2B5EF4-FFF2-40B4-BE49-F238E27FC236}">
                <a16:creationId xmlns:a16="http://schemas.microsoft.com/office/drawing/2014/main" id="{07B73524-7F55-BCC4-1FD8-E1397FE7B92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6816" y="4032039"/>
            <a:ext cx="360000" cy="360000"/>
          </a:xfrm>
          <a:prstGeom prst="rect">
            <a:avLst/>
          </a:prstGeom>
        </p:spPr>
      </p:pic>
      <p:pic>
        <p:nvPicPr>
          <p:cNvPr id="36" name="Graphic 35" descr="Scales of justice with solid fill">
            <a:extLst>
              <a:ext uri="{FF2B5EF4-FFF2-40B4-BE49-F238E27FC236}">
                <a16:creationId xmlns:a16="http://schemas.microsoft.com/office/drawing/2014/main" id="{7C410CDB-F851-0D7D-7F75-64BB03E4608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04350" y="1229275"/>
            <a:ext cx="360000" cy="360000"/>
          </a:xfrm>
          <a:prstGeom prst="rect">
            <a:avLst/>
          </a:prstGeom>
        </p:spPr>
      </p:pic>
      <p:pic>
        <p:nvPicPr>
          <p:cNvPr id="39" name="Graphic 38" descr="Share with solid fill">
            <a:extLst>
              <a:ext uri="{FF2B5EF4-FFF2-40B4-BE49-F238E27FC236}">
                <a16:creationId xmlns:a16="http://schemas.microsoft.com/office/drawing/2014/main" id="{28DD271C-B3BB-8118-2CC7-82E90E0FB31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08404" y="3282855"/>
            <a:ext cx="360000" cy="360000"/>
          </a:xfrm>
          <a:prstGeom prst="rect">
            <a:avLst/>
          </a:prstGeom>
        </p:spPr>
      </p:pic>
      <p:pic>
        <p:nvPicPr>
          <p:cNvPr id="41" name="Graphic 40" descr="Continuous Improvement with solid fill">
            <a:extLst>
              <a:ext uri="{FF2B5EF4-FFF2-40B4-BE49-F238E27FC236}">
                <a16:creationId xmlns:a16="http://schemas.microsoft.com/office/drawing/2014/main" id="{FF7885F1-47DB-EA8D-1912-7E7EF014653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01014" y="2363120"/>
            <a:ext cx="360000" cy="360000"/>
          </a:xfrm>
          <a:prstGeom prst="rect">
            <a:avLst/>
          </a:prstGeom>
        </p:spPr>
      </p:pic>
      <p:pic>
        <p:nvPicPr>
          <p:cNvPr id="43" name="Graphic 42" descr="Processor with solid fill">
            <a:extLst>
              <a:ext uri="{FF2B5EF4-FFF2-40B4-BE49-F238E27FC236}">
                <a16:creationId xmlns:a16="http://schemas.microsoft.com/office/drawing/2014/main" id="{9A47AA6E-D3F6-11BD-0D57-590A898821D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81065" y="4363755"/>
            <a:ext cx="360000" cy="360000"/>
          </a:xfrm>
          <a:prstGeom prst="rect">
            <a:avLst/>
          </a:prstGeom>
        </p:spPr>
      </p:pic>
      <p:sp>
        <p:nvSpPr>
          <p:cNvPr id="6" name="Päivämäärän paikkamerkki 3">
            <a:extLst>
              <a:ext uri="{FF2B5EF4-FFF2-40B4-BE49-F238E27FC236}">
                <a16:creationId xmlns:a16="http://schemas.microsoft.com/office/drawing/2014/main" id="{8177BB49-4FB6-A66F-D647-ADE3D7DBAABD}"/>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151674131"/>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463182B9-4643-3D59-AFDB-E78A4E496120}"/>
              </a:ext>
            </a:extLst>
          </p:cNvPr>
          <p:cNvSpPr/>
          <p:nvPr/>
        </p:nvSpPr>
        <p:spPr bwMode="auto">
          <a:xfrm>
            <a:off x="351579" y="1837350"/>
            <a:ext cx="8792421" cy="2721600"/>
          </a:xfrm>
          <a:prstGeom prst="rect">
            <a:avLst/>
          </a:prstGeom>
          <a:solidFill>
            <a:srgbClr val="0ACFCF"/>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2</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1936800" cy="250837"/>
          </a:xfrm>
          <a:solidFill>
            <a:srgbClr val="0ACFCF"/>
          </a:solidFill>
        </p:spPr>
        <p:txBody>
          <a:bodyPr>
            <a:noAutofit/>
          </a:bodyPr>
          <a:lstStyle/>
          <a:p>
            <a:pPr marL="288000"/>
            <a:r>
              <a:rPr lang="fi-FI">
                <a:solidFill>
                  <a:schemeClr val="bg1"/>
                </a:solidFill>
              </a:rPr>
              <a:t>Talouden tunnusluvut</a:t>
            </a:r>
          </a:p>
        </p:txBody>
      </p:sp>
      <p:sp>
        <p:nvSpPr>
          <p:cNvPr id="8" name="Content Placeholder 7">
            <a:extLst>
              <a:ext uri="{FF2B5EF4-FFF2-40B4-BE49-F238E27FC236}">
                <a16:creationId xmlns:a16="http://schemas.microsoft.com/office/drawing/2014/main" id="{74A10508-4726-11E0-EE8A-048130E33896}"/>
              </a:ext>
            </a:extLst>
          </p:cNvPr>
          <p:cNvSpPr>
            <a:spLocks noGrp="1"/>
          </p:cNvSpPr>
          <p:nvPr>
            <p:ph idx="19"/>
          </p:nvPr>
        </p:nvSpPr>
        <p:spPr>
          <a:xfrm>
            <a:off x="424800" y="1923750"/>
            <a:ext cx="2851200" cy="1771200"/>
          </a:xfrm>
        </p:spPr>
        <p:txBody>
          <a:bodyPr>
            <a:noAutofit/>
          </a:bodyPr>
          <a:lstStyle/>
          <a:p>
            <a:pPr marL="171450" indent="-171450">
              <a:lnSpc>
                <a:spcPct val="100000"/>
              </a:lnSpc>
              <a:buSzPct val="100000"/>
              <a:buFont typeface="Wingdings" panose="05000000000000000000" pitchFamily="2" charset="2"/>
              <a:buChar char="§"/>
            </a:pPr>
            <a:r>
              <a:rPr lang="fi-FI" sz="1000" b="1" dirty="0"/>
              <a:t>Ennusteet osoittavat Suomen talouden kääntyvän taantumasta kasvuun vuonna 2025 </a:t>
            </a:r>
          </a:p>
          <a:p>
            <a:pPr marL="171450" indent="-171450">
              <a:lnSpc>
                <a:spcPct val="100000"/>
              </a:lnSpc>
              <a:buSzPct val="100000"/>
              <a:buFont typeface="Wingdings" panose="05000000000000000000" pitchFamily="2" charset="2"/>
              <a:buChar char="§"/>
            </a:pPr>
            <a:r>
              <a:rPr lang="fi-FI" sz="1000" b="1" dirty="0"/>
              <a:t>Ennusteissa on kuitenkin merkittävää vaihtelua tahosta riippuen.</a:t>
            </a:r>
          </a:p>
          <a:p>
            <a:pPr marL="171450" indent="-171450">
              <a:lnSpc>
                <a:spcPct val="100000"/>
              </a:lnSpc>
              <a:buSzPct val="100000"/>
              <a:buFont typeface="Wingdings" panose="05000000000000000000" pitchFamily="2" charset="2"/>
              <a:buChar char="§"/>
            </a:pPr>
            <a:r>
              <a:rPr lang="fi-FI" sz="1000" b="1" dirty="0"/>
              <a:t>Erot vuoden 2025 ennusteissa ovat 0,9 – 2,7 prosenttiyksikön välillä indikaattorista riippuen.</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a:t>Suomen talouden odotetaan kehittyvän positiiviseen suuntaan</a:t>
            </a:r>
          </a:p>
        </p:txBody>
      </p:sp>
      <p:sp>
        <p:nvSpPr>
          <p:cNvPr id="6" name="Rectangle 5">
            <a:extLst>
              <a:ext uri="{FF2B5EF4-FFF2-40B4-BE49-F238E27FC236}">
                <a16:creationId xmlns:a16="http://schemas.microsoft.com/office/drawing/2014/main" id="{CF4E2CC1-9DEF-8186-EC66-97C241843D5B}"/>
              </a:ext>
            </a:extLst>
          </p:cNvPr>
          <p:cNvSpPr/>
          <p:nvPr/>
        </p:nvSpPr>
        <p:spPr bwMode="auto">
          <a:xfrm>
            <a:off x="3463520" y="1648055"/>
            <a:ext cx="1645720" cy="3079991"/>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a:ln>
                  <a:noFill/>
                </a:ln>
                <a:solidFill>
                  <a:srgbClr val="29282E">
                    <a:lumMod val="75000"/>
                    <a:lumOff val="25000"/>
                  </a:srgbClr>
                </a:solidFill>
                <a:effectLst/>
                <a:uLnTx/>
                <a:uFillTx/>
                <a:latin typeface="Verdana"/>
                <a:ea typeface="+mn-ea"/>
                <a:cs typeface="+mn-cs"/>
              </a:rPr>
              <a:t>Lähde: Suomen Pankki, Teknologiateollisuus, Euroopan Komissio, IMF, Tilastokeskus</a:t>
            </a:r>
          </a:p>
        </p:txBody>
      </p:sp>
      <p:sp>
        <p:nvSpPr>
          <p:cNvPr id="10" name="Rectangle 9">
            <a:extLst>
              <a:ext uri="{FF2B5EF4-FFF2-40B4-BE49-F238E27FC236}">
                <a16:creationId xmlns:a16="http://schemas.microsoft.com/office/drawing/2014/main" id="{67B6E42B-4F49-CA03-D5CD-A53753DC4D88}"/>
              </a:ext>
            </a:extLst>
          </p:cNvPr>
          <p:cNvSpPr/>
          <p:nvPr/>
        </p:nvSpPr>
        <p:spPr bwMode="auto">
          <a:xfrm>
            <a:off x="5305110" y="1648055"/>
            <a:ext cx="1645720" cy="3079991"/>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7" name="Rectangle 16">
            <a:extLst>
              <a:ext uri="{FF2B5EF4-FFF2-40B4-BE49-F238E27FC236}">
                <a16:creationId xmlns:a16="http://schemas.microsoft.com/office/drawing/2014/main" id="{51DE7AEA-E5A4-3B46-A581-9371C56CB39D}"/>
              </a:ext>
            </a:extLst>
          </p:cNvPr>
          <p:cNvSpPr/>
          <p:nvPr/>
        </p:nvSpPr>
        <p:spPr bwMode="auto">
          <a:xfrm>
            <a:off x="7146701" y="1648055"/>
            <a:ext cx="1645720" cy="3079991"/>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31" name="Text Placeholder 6">
            <a:extLst>
              <a:ext uri="{FF2B5EF4-FFF2-40B4-BE49-F238E27FC236}">
                <a16:creationId xmlns:a16="http://schemas.microsoft.com/office/drawing/2014/main" id="{6DD89CC2-D2A0-A5C1-E23D-BC13F9DA6C3E}"/>
              </a:ext>
            </a:extLst>
          </p:cNvPr>
          <p:cNvSpPr txBox="1">
            <a:spLocks/>
          </p:cNvSpPr>
          <p:nvPr/>
        </p:nvSpPr>
        <p:spPr>
          <a:xfrm>
            <a:off x="511200" y="4068326"/>
            <a:ext cx="2959692" cy="470426"/>
          </a:xfrm>
          <a:prstGeom prst="rect">
            <a:avLst/>
          </a:prstGeom>
        </p:spPr>
        <p:txBody>
          <a:bodyPr vert="horz" lIns="91440" tIns="45720" rIns="91440" bIns="45720" rtlCol="0">
            <a:noAutofit/>
          </a:bodyPr>
          <a:lstStyle>
            <a:lvl1pPr marL="0" indent="0" algn="l" defTabSz="806052" rtl="0" eaLnBrk="1" latinLnBrk="0" hangingPunct="1">
              <a:lnSpc>
                <a:spcPct val="100000"/>
              </a:lnSpc>
              <a:spcBef>
                <a:spcPts val="0"/>
              </a:spcBef>
              <a:spcAft>
                <a:spcPts val="0"/>
              </a:spcAft>
              <a:buClrTx/>
              <a:buSzPct val="125000"/>
              <a:buFontTx/>
              <a:buNone/>
              <a:defRPr sz="70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r" defTabSz="806052" rtl="0" eaLnBrk="1" fontAlgn="auto" latinLnBrk="0" hangingPunct="1">
              <a:lnSpc>
                <a:spcPct val="100000"/>
              </a:lnSpc>
              <a:spcBef>
                <a:spcPts val="0"/>
              </a:spcBef>
              <a:spcAft>
                <a:spcPts val="0"/>
              </a:spcAft>
              <a:buClrTx/>
              <a:buSzPct val="125000"/>
              <a:buFontTx/>
              <a:buNone/>
              <a:tabLst/>
              <a:defRPr/>
            </a:pPr>
            <a:r>
              <a:rPr kumimoji="0" lang="fi-FI" sz="600" b="0" i="0" u="none" strike="noStrike" kern="1200" cap="none" spc="0" normalizeH="0" baseline="0" noProof="0">
                <a:ln>
                  <a:noFill/>
                </a:ln>
                <a:solidFill>
                  <a:srgbClr val="29282E">
                    <a:lumMod val="75000"/>
                    <a:lumOff val="25000"/>
                  </a:srgbClr>
                </a:solidFill>
                <a:effectLst/>
                <a:uLnTx/>
                <a:uFillTx/>
                <a:latin typeface="Verdana" panose="020B0604030504040204" pitchFamily="34" charset="0"/>
                <a:ea typeface="Verdana" panose="020B0604030504040204" pitchFamily="34" charset="0"/>
              </a:rPr>
              <a:t>Kuvaajat osoittavat kymmenen eri tahon talouden ennusteista lasketun keskiarvon Suomen talouden ja työllisyyden kehitykselle. Ennusteet on koottu aikaväliltä 1.1.2024-30.6.2024 kansainvälisten ja suomalaisten pankkien sekä tilastoviranomaisten ja tutkimuslaitosten arvioista. </a:t>
            </a:r>
            <a:endParaRPr kumimoji="0" lang="fi-FI" sz="600" b="1" i="0" u="none" strike="noStrike" kern="1200" cap="none" spc="0" normalizeH="0" baseline="0" noProof="0">
              <a:ln>
                <a:noFill/>
              </a:ln>
              <a:solidFill>
                <a:srgbClr val="29282E">
                  <a:lumMod val="75000"/>
                  <a:lumOff val="25000"/>
                </a:srgbClr>
              </a:solidFill>
              <a:effectLst/>
              <a:uLnTx/>
              <a:uFillTx/>
              <a:latin typeface="Verdana" panose="020B0604030504040204" pitchFamily="34" charset="0"/>
              <a:ea typeface="Verdana" panose="020B0604030504040204" pitchFamily="34" charset="0"/>
            </a:endParaRPr>
          </a:p>
        </p:txBody>
      </p:sp>
      <p:graphicFrame>
        <p:nvGraphicFramePr>
          <p:cNvPr id="19" name="Chart 18">
            <a:extLst>
              <a:ext uri="{FF2B5EF4-FFF2-40B4-BE49-F238E27FC236}">
                <a16:creationId xmlns:a16="http://schemas.microsoft.com/office/drawing/2014/main" id="{4F790125-C604-975E-E5A0-1369EDC799DE}"/>
              </a:ext>
            </a:extLst>
          </p:cNvPr>
          <p:cNvGraphicFramePr>
            <a:graphicFrameLocks/>
          </p:cNvGraphicFramePr>
          <p:nvPr>
            <p:extLst>
              <p:ext uri="{D42A27DB-BD31-4B8C-83A1-F6EECF244321}">
                <p14:modId xmlns:p14="http://schemas.microsoft.com/office/powerpoint/2010/main" val="3054790442"/>
              </p:ext>
            </p:extLst>
          </p:nvPr>
        </p:nvGraphicFramePr>
        <p:xfrm>
          <a:off x="3461570" y="1708785"/>
          <a:ext cx="1638000" cy="1540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21">
            <a:extLst>
              <a:ext uri="{FF2B5EF4-FFF2-40B4-BE49-F238E27FC236}">
                <a16:creationId xmlns:a16="http://schemas.microsoft.com/office/drawing/2014/main" id="{B8551CF9-D46F-6E49-EA60-E395C4A62D1B}"/>
              </a:ext>
            </a:extLst>
          </p:cNvPr>
          <p:cNvGraphicFramePr>
            <a:graphicFrameLocks/>
          </p:cNvGraphicFramePr>
          <p:nvPr>
            <p:extLst>
              <p:ext uri="{D42A27DB-BD31-4B8C-83A1-F6EECF244321}">
                <p14:modId xmlns:p14="http://schemas.microsoft.com/office/powerpoint/2010/main" val="3966400584"/>
              </p:ext>
            </p:extLst>
          </p:nvPr>
        </p:nvGraphicFramePr>
        <p:xfrm>
          <a:off x="5312828" y="1708785"/>
          <a:ext cx="1638000" cy="1540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a:extLst>
              <a:ext uri="{FF2B5EF4-FFF2-40B4-BE49-F238E27FC236}">
                <a16:creationId xmlns:a16="http://schemas.microsoft.com/office/drawing/2014/main" id="{F438CE6C-B4CA-DBDF-CD91-F28C8E0C8F6B}"/>
              </a:ext>
            </a:extLst>
          </p:cNvPr>
          <p:cNvGraphicFramePr>
            <a:graphicFrameLocks/>
          </p:cNvGraphicFramePr>
          <p:nvPr/>
        </p:nvGraphicFramePr>
        <p:xfrm>
          <a:off x="3458411" y="3187246"/>
          <a:ext cx="1638000" cy="1540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Chart 25">
            <a:extLst>
              <a:ext uri="{FF2B5EF4-FFF2-40B4-BE49-F238E27FC236}">
                <a16:creationId xmlns:a16="http://schemas.microsoft.com/office/drawing/2014/main" id="{1A81296E-1BC5-91F3-3791-C9FFD3675F80}"/>
              </a:ext>
            </a:extLst>
          </p:cNvPr>
          <p:cNvGraphicFramePr>
            <a:graphicFrameLocks/>
          </p:cNvGraphicFramePr>
          <p:nvPr>
            <p:extLst>
              <p:ext uri="{D42A27DB-BD31-4B8C-83A1-F6EECF244321}">
                <p14:modId xmlns:p14="http://schemas.microsoft.com/office/powerpoint/2010/main" val="3451813310"/>
              </p:ext>
            </p:extLst>
          </p:nvPr>
        </p:nvGraphicFramePr>
        <p:xfrm>
          <a:off x="5291651" y="3187246"/>
          <a:ext cx="1638000" cy="1540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Chart 26">
            <a:extLst>
              <a:ext uri="{FF2B5EF4-FFF2-40B4-BE49-F238E27FC236}">
                <a16:creationId xmlns:a16="http://schemas.microsoft.com/office/drawing/2014/main" id="{F85FF5F5-F77B-B7CE-025C-3EEC9E248C32}"/>
              </a:ext>
            </a:extLst>
          </p:cNvPr>
          <p:cNvGraphicFramePr>
            <a:graphicFrameLocks/>
          </p:cNvGraphicFramePr>
          <p:nvPr/>
        </p:nvGraphicFramePr>
        <p:xfrm>
          <a:off x="7144743" y="1708785"/>
          <a:ext cx="1638000" cy="1540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0" name="Chart 49">
            <a:extLst>
              <a:ext uri="{FF2B5EF4-FFF2-40B4-BE49-F238E27FC236}">
                <a16:creationId xmlns:a16="http://schemas.microsoft.com/office/drawing/2014/main" id="{7223140F-3F13-30E7-D6EB-BE47530D5A68}"/>
              </a:ext>
            </a:extLst>
          </p:cNvPr>
          <p:cNvGraphicFramePr>
            <a:graphicFrameLocks/>
          </p:cNvGraphicFramePr>
          <p:nvPr/>
        </p:nvGraphicFramePr>
        <p:xfrm>
          <a:off x="7153156" y="3187927"/>
          <a:ext cx="1638000" cy="1540800"/>
        </p:xfrm>
        <a:graphic>
          <a:graphicData uri="http://schemas.openxmlformats.org/drawingml/2006/chart">
            <c:chart xmlns:c="http://schemas.openxmlformats.org/drawingml/2006/chart" xmlns:r="http://schemas.openxmlformats.org/officeDocument/2006/relationships" r:id="rId7"/>
          </a:graphicData>
        </a:graphic>
      </p:graphicFrame>
      <p:grpSp>
        <p:nvGrpSpPr>
          <p:cNvPr id="32" name="Group 31">
            <a:extLst>
              <a:ext uri="{FF2B5EF4-FFF2-40B4-BE49-F238E27FC236}">
                <a16:creationId xmlns:a16="http://schemas.microsoft.com/office/drawing/2014/main" id="{AD1C5190-C8CE-978C-965C-DA1651F7C813}"/>
              </a:ext>
            </a:extLst>
          </p:cNvPr>
          <p:cNvGrpSpPr/>
          <p:nvPr/>
        </p:nvGrpSpPr>
        <p:grpSpPr>
          <a:xfrm>
            <a:off x="8313878" y="3528715"/>
            <a:ext cx="324000" cy="324000"/>
            <a:chOff x="8326633" y="977039"/>
            <a:chExt cx="432000" cy="432000"/>
          </a:xfrm>
        </p:grpSpPr>
        <p:sp>
          <p:nvSpPr>
            <p:cNvPr id="33" name="Oval 32">
              <a:extLst>
                <a:ext uri="{FF2B5EF4-FFF2-40B4-BE49-F238E27FC236}">
                  <a16:creationId xmlns:a16="http://schemas.microsoft.com/office/drawing/2014/main" id="{A706CD4F-5918-F3C3-28E1-9B0C089E217E}"/>
                </a:ext>
              </a:extLst>
            </p:cNvPr>
            <p:cNvSpPr/>
            <p:nvPr/>
          </p:nvSpPr>
          <p:spPr bwMode="auto">
            <a:xfrm>
              <a:off x="8326633" y="977039"/>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34" name="Graphic 33" descr="Downstairs with solid fill">
              <a:extLst>
                <a:ext uri="{FF2B5EF4-FFF2-40B4-BE49-F238E27FC236}">
                  <a16:creationId xmlns:a16="http://schemas.microsoft.com/office/drawing/2014/main" id="{F3F9E843-5908-8619-8220-0904BFF6D40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98633" y="1049039"/>
              <a:ext cx="288000" cy="288000"/>
            </a:xfrm>
            <a:prstGeom prst="rect">
              <a:avLst/>
            </a:prstGeom>
          </p:spPr>
        </p:pic>
      </p:grpSp>
      <p:grpSp>
        <p:nvGrpSpPr>
          <p:cNvPr id="35" name="Group 34">
            <a:extLst>
              <a:ext uri="{FF2B5EF4-FFF2-40B4-BE49-F238E27FC236}">
                <a16:creationId xmlns:a16="http://schemas.microsoft.com/office/drawing/2014/main" id="{C44AD99A-14A5-9382-EA96-BB521A56F915}"/>
              </a:ext>
            </a:extLst>
          </p:cNvPr>
          <p:cNvGrpSpPr/>
          <p:nvPr/>
        </p:nvGrpSpPr>
        <p:grpSpPr>
          <a:xfrm>
            <a:off x="8310628" y="2188639"/>
            <a:ext cx="324000" cy="324000"/>
            <a:chOff x="8476358" y="1723173"/>
            <a:chExt cx="432000" cy="432000"/>
          </a:xfrm>
        </p:grpSpPr>
        <p:sp>
          <p:nvSpPr>
            <p:cNvPr id="36" name="Oval 35">
              <a:extLst>
                <a:ext uri="{FF2B5EF4-FFF2-40B4-BE49-F238E27FC236}">
                  <a16:creationId xmlns:a16="http://schemas.microsoft.com/office/drawing/2014/main" id="{4FA3F06C-03B9-D2AB-2B58-CF8AEFBA5F84}"/>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37" name="Graphic 36" descr="Upstairs with solid fill">
              <a:extLst>
                <a:ext uri="{FF2B5EF4-FFF2-40B4-BE49-F238E27FC236}">
                  <a16:creationId xmlns:a16="http://schemas.microsoft.com/office/drawing/2014/main" id="{AEFD5C7C-A30E-02A8-F050-04603AB71D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38" name="Group 37">
            <a:extLst>
              <a:ext uri="{FF2B5EF4-FFF2-40B4-BE49-F238E27FC236}">
                <a16:creationId xmlns:a16="http://schemas.microsoft.com/office/drawing/2014/main" id="{B6B13177-2805-3324-A019-EBE410EB2906}"/>
              </a:ext>
            </a:extLst>
          </p:cNvPr>
          <p:cNvGrpSpPr/>
          <p:nvPr/>
        </p:nvGrpSpPr>
        <p:grpSpPr>
          <a:xfrm>
            <a:off x="6497730" y="1923750"/>
            <a:ext cx="324000" cy="324000"/>
            <a:chOff x="8476358" y="1723173"/>
            <a:chExt cx="432000" cy="432000"/>
          </a:xfrm>
        </p:grpSpPr>
        <p:sp>
          <p:nvSpPr>
            <p:cNvPr id="39" name="Oval 38">
              <a:extLst>
                <a:ext uri="{FF2B5EF4-FFF2-40B4-BE49-F238E27FC236}">
                  <a16:creationId xmlns:a16="http://schemas.microsoft.com/office/drawing/2014/main" id="{922DB475-0141-8BFA-E265-94F9A7DFB3B2}"/>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0" name="Graphic 39" descr="Upstairs with solid fill">
              <a:extLst>
                <a:ext uri="{FF2B5EF4-FFF2-40B4-BE49-F238E27FC236}">
                  <a16:creationId xmlns:a16="http://schemas.microsoft.com/office/drawing/2014/main" id="{1E581A1D-B4FE-7843-80B0-C5B2229AA96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41" name="Group 40">
            <a:extLst>
              <a:ext uri="{FF2B5EF4-FFF2-40B4-BE49-F238E27FC236}">
                <a16:creationId xmlns:a16="http://schemas.microsoft.com/office/drawing/2014/main" id="{B16F5F7A-81A3-3186-A21A-17F3FABA0A5C}"/>
              </a:ext>
            </a:extLst>
          </p:cNvPr>
          <p:cNvGrpSpPr/>
          <p:nvPr/>
        </p:nvGrpSpPr>
        <p:grpSpPr>
          <a:xfrm>
            <a:off x="4617214" y="1923750"/>
            <a:ext cx="324000" cy="324000"/>
            <a:chOff x="8476358" y="1723173"/>
            <a:chExt cx="432000" cy="432000"/>
          </a:xfrm>
        </p:grpSpPr>
        <p:sp>
          <p:nvSpPr>
            <p:cNvPr id="42" name="Oval 41">
              <a:extLst>
                <a:ext uri="{FF2B5EF4-FFF2-40B4-BE49-F238E27FC236}">
                  <a16:creationId xmlns:a16="http://schemas.microsoft.com/office/drawing/2014/main" id="{E0C80373-281A-89A1-C619-A5924CAB9B84}"/>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3" name="Graphic 42" descr="Upstairs with solid fill">
              <a:extLst>
                <a:ext uri="{FF2B5EF4-FFF2-40B4-BE49-F238E27FC236}">
                  <a16:creationId xmlns:a16="http://schemas.microsoft.com/office/drawing/2014/main" id="{4F662CCC-066C-3BBE-D328-8FB53B01D02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44" name="Group 43">
            <a:extLst>
              <a:ext uri="{FF2B5EF4-FFF2-40B4-BE49-F238E27FC236}">
                <a16:creationId xmlns:a16="http://schemas.microsoft.com/office/drawing/2014/main" id="{3C3AFA13-0FC6-C19D-16B9-59056E7EABFB}"/>
              </a:ext>
            </a:extLst>
          </p:cNvPr>
          <p:cNvGrpSpPr/>
          <p:nvPr/>
        </p:nvGrpSpPr>
        <p:grpSpPr>
          <a:xfrm>
            <a:off x="4565410" y="4068326"/>
            <a:ext cx="324000" cy="324000"/>
            <a:chOff x="8476358" y="1723173"/>
            <a:chExt cx="432000" cy="432000"/>
          </a:xfrm>
        </p:grpSpPr>
        <p:sp>
          <p:nvSpPr>
            <p:cNvPr id="45" name="Oval 44">
              <a:extLst>
                <a:ext uri="{FF2B5EF4-FFF2-40B4-BE49-F238E27FC236}">
                  <a16:creationId xmlns:a16="http://schemas.microsoft.com/office/drawing/2014/main" id="{CA59A85E-4124-315F-C0F0-2BB1DB8FFE63}"/>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6" name="Graphic 45" descr="Upstairs with solid fill">
              <a:extLst>
                <a:ext uri="{FF2B5EF4-FFF2-40B4-BE49-F238E27FC236}">
                  <a16:creationId xmlns:a16="http://schemas.microsoft.com/office/drawing/2014/main" id="{76D53DEF-3C07-CD0F-CDEE-FCA9277E125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grpSp>
        <p:nvGrpSpPr>
          <p:cNvPr id="47" name="Group 46">
            <a:extLst>
              <a:ext uri="{FF2B5EF4-FFF2-40B4-BE49-F238E27FC236}">
                <a16:creationId xmlns:a16="http://schemas.microsoft.com/office/drawing/2014/main" id="{5312E8DD-4781-55B0-B75E-562E1D1ED3A6}"/>
              </a:ext>
            </a:extLst>
          </p:cNvPr>
          <p:cNvGrpSpPr/>
          <p:nvPr/>
        </p:nvGrpSpPr>
        <p:grpSpPr>
          <a:xfrm>
            <a:off x="6398711" y="3538535"/>
            <a:ext cx="324000" cy="324000"/>
            <a:chOff x="8476358" y="1723173"/>
            <a:chExt cx="432000" cy="432000"/>
          </a:xfrm>
        </p:grpSpPr>
        <p:sp>
          <p:nvSpPr>
            <p:cNvPr id="48" name="Oval 47">
              <a:extLst>
                <a:ext uri="{FF2B5EF4-FFF2-40B4-BE49-F238E27FC236}">
                  <a16:creationId xmlns:a16="http://schemas.microsoft.com/office/drawing/2014/main" id="{30DBCFEA-97D3-1E19-59F9-157FF4AF8540}"/>
                </a:ext>
              </a:extLst>
            </p:cNvPr>
            <p:cNvSpPr/>
            <p:nvPr/>
          </p:nvSpPr>
          <p:spPr bwMode="auto">
            <a:xfrm>
              <a:off x="8476358" y="1723173"/>
              <a:ext cx="432000" cy="432000"/>
            </a:xfrm>
            <a:prstGeom prst="ellipse">
              <a:avLst/>
            </a:pr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pic>
          <p:nvPicPr>
            <p:cNvPr id="49" name="Graphic 48" descr="Upstairs with solid fill">
              <a:extLst>
                <a:ext uri="{FF2B5EF4-FFF2-40B4-BE49-F238E27FC236}">
                  <a16:creationId xmlns:a16="http://schemas.microsoft.com/office/drawing/2014/main" id="{25E1726B-312D-8FC3-E377-F65EBFAFBF1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42633" y="1795173"/>
              <a:ext cx="288000" cy="288000"/>
            </a:xfrm>
            <a:prstGeom prst="rect">
              <a:avLst/>
            </a:prstGeom>
          </p:spPr>
        </p:pic>
      </p:grpSp>
      <p:sp>
        <p:nvSpPr>
          <p:cNvPr id="7" name="Päivämäärän paikkamerkki 3">
            <a:extLst>
              <a:ext uri="{FF2B5EF4-FFF2-40B4-BE49-F238E27FC236}">
                <a16:creationId xmlns:a16="http://schemas.microsoft.com/office/drawing/2014/main" id="{6CD9E25F-9A33-AFE5-A562-445E4D1C5649}"/>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346473998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fld id="{6FCB6B90-8271-4E8F-82C1-E646FBB48A2E}" type="slidenum">
              <a:rPr lang="fi-FI" smtClean="0"/>
              <a:pPr/>
              <a:t>3</a:t>
            </a:fld>
            <a:endParaRPr lang="fi-FI"/>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r>
              <a:rPr lang="fi-FI"/>
              <a:t>SKOL</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1936800" cy="250837"/>
          </a:xfrm>
          <a:solidFill>
            <a:srgbClr val="0ACFCF"/>
          </a:solidFill>
        </p:spPr>
        <p:txBody>
          <a:bodyPr>
            <a:noAutofit/>
          </a:bodyPr>
          <a:lstStyle/>
          <a:p>
            <a:pPr marL="288000"/>
            <a:r>
              <a:rPr lang="fi-FI">
                <a:solidFill>
                  <a:schemeClr val="bg1"/>
                </a:solidFill>
              </a:rPr>
              <a:t>Talouden tunnusluvut</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dirty="0"/>
              <a:t>Suhdannebarometri</a:t>
            </a:r>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algn="ctr"/>
            <a:r>
              <a:rPr lang="fi-FI" sz="700" spc="-40" dirty="0">
                <a:solidFill>
                  <a:schemeClr val="tx1">
                    <a:lumMod val="75000"/>
                    <a:lumOff val="25000"/>
                  </a:schemeClr>
                </a:solidFill>
              </a:rPr>
              <a:t>Lähde: Tilastokeskus, EK</a:t>
            </a:r>
          </a:p>
        </p:txBody>
      </p:sp>
      <p:sp>
        <p:nvSpPr>
          <p:cNvPr id="11" name="Rectangle 10">
            <a:extLst>
              <a:ext uri="{FF2B5EF4-FFF2-40B4-BE49-F238E27FC236}">
                <a16:creationId xmlns:a16="http://schemas.microsoft.com/office/drawing/2014/main" id="{36C93923-D450-BB10-F067-9F030ADAA3FF}"/>
              </a:ext>
            </a:extLst>
          </p:cNvPr>
          <p:cNvSpPr/>
          <p:nvPr/>
        </p:nvSpPr>
        <p:spPr bwMode="auto">
          <a:xfrm>
            <a:off x="338401" y="1169582"/>
            <a:ext cx="8454020" cy="2972449"/>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algn="ctr"/>
            <a:endParaRPr lang="fi-FI"/>
          </a:p>
        </p:txBody>
      </p:sp>
      <p:sp>
        <p:nvSpPr>
          <p:cNvPr id="6" name="Rectangle 5">
            <a:extLst>
              <a:ext uri="{FF2B5EF4-FFF2-40B4-BE49-F238E27FC236}">
                <a16:creationId xmlns:a16="http://schemas.microsoft.com/office/drawing/2014/main" id="{106BEC6E-B1D1-A5F2-450D-C10F7052BD6F}"/>
              </a:ext>
            </a:extLst>
          </p:cNvPr>
          <p:cNvSpPr/>
          <p:nvPr/>
        </p:nvSpPr>
        <p:spPr bwMode="auto">
          <a:xfrm>
            <a:off x="338400" y="4213890"/>
            <a:ext cx="8454021" cy="514155"/>
          </a:xfrm>
          <a:prstGeom prst="rect">
            <a:avLst/>
          </a:prstGeom>
          <a:solidFill>
            <a:srgbClr val="0ACFCF"/>
          </a:solidFill>
          <a:ln>
            <a:noFill/>
          </a:ln>
        </p:spPr>
        <p:txBody>
          <a:bodyPr vert="horz" wrap="square" lIns="91440" tIns="45720" rIns="91440" bIns="45720" numCol="1" rtlCol="0" anchor="ctr" anchorCtr="0" compatLnSpc="1">
            <a:prstTxWarp prst="textNoShape">
              <a:avLst/>
            </a:prstTxWarp>
          </a:bodyPr>
          <a:lstStyle/>
          <a:p>
            <a:pPr marL="540000" indent="-576000"/>
            <a:r>
              <a:rPr lang="fi-FI" sz="800" b="1" spc="-40" dirty="0"/>
              <a:t>Näkemys: </a:t>
            </a:r>
            <a:r>
              <a:rPr lang="fi-FI" sz="800" i="1" spc="-40" dirty="0"/>
              <a:t>Odottava maailman tilanne vaikuttaa elinkeinoelämän luottamukseen, joka heijastuu suunnittelualaan lähivuosina mahdollisena uuden rakentamisen vähenemisenä ja suurten investointien epävarmuutena. Myös muuttuva lainsäädäntö ja viralliset prosessit hidastavat osaltaan suurten investointien toteutumista Suomessa. Elinkeinoelämän yritysten näkemysten perusteella viime vuosien tuotannon haasteena on ollut erityisesti kysynnän heikkous mutta samanaikaisesti työvoiman saatavuus on parantunut.</a:t>
            </a:r>
          </a:p>
        </p:txBody>
      </p:sp>
      <p:graphicFrame>
        <p:nvGraphicFramePr>
          <p:cNvPr id="8" name="Chart 7">
            <a:extLst>
              <a:ext uri="{FF2B5EF4-FFF2-40B4-BE49-F238E27FC236}">
                <a16:creationId xmlns:a16="http://schemas.microsoft.com/office/drawing/2014/main" id="{0FB10643-A469-4C16-B7D3-391FA2D1E28B}"/>
              </a:ext>
            </a:extLst>
          </p:cNvPr>
          <p:cNvGraphicFramePr/>
          <p:nvPr>
            <p:extLst>
              <p:ext uri="{D42A27DB-BD31-4B8C-83A1-F6EECF244321}">
                <p14:modId xmlns:p14="http://schemas.microsoft.com/office/powerpoint/2010/main" val="1393292351"/>
              </p:ext>
            </p:extLst>
          </p:nvPr>
        </p:nvGraphicFramePr>
        <p:xfrm>
          <a:off x="338401" y="1168220"/>
          <a:ext cx="4233600" cy="29608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8CD77983-152D-C4C8-DE2C-1BA1E0FB4897}"/>
              </a:ext>
            </a:extLst>
          </p:cNvPr>
          <p:cNvGraphicFramePr/>
          <p:nvPr>
            <p:extLst>
              <p:ext uri="{D42A27DB-BD31-4B8C-83A1-F6EECF244321}">
                <p14:modId xmlns:p14="http://schemas.microsoft.com/office/powerpoint/2010/main" val="3708645841"/>
              </p:ext>
            </p:extLst>
          </p:nvPr>
        </p:nvGraphicFramePr>
        <p:xfrm>
          <a:off x="4585179" y="1169583"/>
          <a:ext cx="4207242" cy="2959506"/>
        </p:xfrm>
        <a:graphic>
          <a:graphicData uri="http://schemas.openxmlformats.org/drawingml/2006/chart">
            <c:chart xmlns:c="http://schemas.openxmlformats.org/drawingml/2006/chart" xmlns:r="http://schemas.openxmlformats.org/officeDocument/2006/relationships" r:id="rId3"/>
          </a:graphicData>
        </a:graphic>
      </p:graphicFrame>
      <p:sp>
        <p:nvSpPr>
          <p:cNvPr id="7" name="Päivämäärän paikkamerkki 3">
            <a:extLst>
              <a:ext uri="{FF2B5EF4-FFF2-40B4-BE49-F238E27FC236}">
                <a16:creationId xmlns:a16="http://schemas.microsoft.com/office/drawing/2014/main" id="{778235A3-D699-B440-DF0E-DAFBB605700D}"/>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05117479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A49D038-9698-48EC-A1FF-88A20CF7269C}"/>
              </a:ext>
            </a:extLst>
          </p:cNvPr>
          <p:cNvGrpSpPr/>
          <p:nvPr/>
        </p:nvGrpSpPr>
        <p:grpSpPr>
          <a:xfrm>
            <a:off x="338400" y="1202481"/>
            <a:ext cx="8495640" cy="3525565"/>
            <a:chOff x="2293620" y="1202481"/>
            <a:chExt cx="6540420" cy="3525565"/>
          </a:xfrm>
        </p:grpSpPr>
        <p:sp>
          <p:nvSpPr>
            <p:cNvPr id="14" name="Rectangle 13">
              <a:extLst>
                <a:ext uri="{FF2B5EF4-FFF2-40B4-BE49-F238E27FC236}">
                  <a16:creationId xmlns:a16="http://schemas.microsoft.com/office/drawing/2014/main" id="{E6385F3F-0D60-C039-5F42-8059442A6C23}"/>
                </a:ext>
              </a:extLst>
            </p:cNvPr>
            <p:cNvSpPr/>
            <p:nvPr/>
          </p:nvSpPr>
          <p:spPr bwMode="auto">
            <a:xfrm>
              <a:off x="6797312" y="1202481"/>
              <a:ext cx="2036728" cy="3525565"/>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9EA4BE2-164E-2B29-C80D-EE3C438B0549}"/>
                </a:ext>
              </a:extLst>
            </p:cNvPr>
            <p:cNvSpPr/>
            <p:nvPr/>
          </p:nvSpPr>
          <p:spPr bwMode="auto">
            <a:xfrm>
              <a:off x="4545466" y="1202481"/>
              <a:ext cx="2036728" cy="3525565"/>
            </a:xfrm>
            <a:prstGeom prst="rect">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2293620" y="1202481"/>
              <a:ext cx="2036728" cy="352556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4</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a:t>Talonrakentamisen tilannekuva</a:t>
            </a:r>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Lähde: EK, MANK, RT, VM</a:t>
            </a:r>
          </a:p>
        </p:txBody>
      </p:sp>
      <p:sp>
        <p:nvSpPr>
          <p:cNvPr id="7" name="Text Placeholder 4">
            <a:extLst>
              <a:ext uri="{FF2B5EF4-FFF2-40B4-BE49-F238E27FC236}">
                <a16:creationId xmlns:a16="http://schemas.microsoft.com/office/drawing/2014/main" id="{76FDEB8C-2E41-F065-8112-4D2C092CE446}"/>
              </a:ext>
            </a:extLst>
          </p:cNvPr>
          <p:cNvSpPr txBox="1">
            <a:spLocks/>
          </p:cNvSpPr>
          <p:nvPr/>
        </p:nvSpPr>
        <p:spPr>
          <a:xfrm>
            <a:off x="3709838" y="290513"/>
            <a:ext cx="1898962" cy="250837"/>
          </a:xfrm>
          <a:prstGeom prst="rect">
            <a:avLst/>
          </a:prstGeom>
          <a:solidFill>
            <a:schemeClr val="accent5">
              <a:lumMod val="60000"/>
              <a:lumOff val="40000"/>
            </a:schemeClr>
          </a:solidFill>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288000" marR="0" lvl="0" indent="0" algn="l" defTabSz="806052" rtl="0" eaLnBrk="1" fontAlgn="auto" latinLnBrk="0" hangingPunct="1">
              <a:lnSpc>
                <a:spcPct val="100000"/>
              </a:lnSpc>
              <a:spcBef>
                <a:spcPts val="0"/>
              </a:spcBef>
              <a:spcAft>
                <a:spcPts val="0"/>
              </a:spcAft>
              <a:buClrTx/>
              <a:buSzPct val="125000"/>
              <a:buFontTx/>
              <a:buNone/>
              <a:tabLst/>
              <a:defRPr/>
            </a:pPr>
            <a:r>
              <a:rPr kumimoji="0" lang="fi-FI" sz="1000" b="1"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Talonrakentaminen</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967200" cy="250837"/>
          </a:xfrm>
          <a:prstGeom prst="homePlate">
            <a:avLst/>
          </a:prstGeom>
          <a:solidFill>
            <a:schemeClr val="accent5"/>
          </a:solidFill>
        </p:spPr>
        <p:txBody>
          <a:bodyPr>
            <a:noAutofit/>
          </a:bodyPr>
          <a:lstStyle/>
          <a:p>
            <a:pPr marL="288000"/>
            <a:r>
              <a:rPr lang="fi-FI">
                <a:solidFill>
                  <a:schemeClr val="bg1"/>
                </a:solidFill>
              </a:rPr>
              <a:t>Päätoimialojen suhdanteet ja investoinnit Suomessa</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3263421" y="1213610"/>
            <a:ext cx="2708753" cy="1771200"/>
          </a:xfrm>
        </p:spPr>
        <p:txBody>
          <a:bodyPr>
            <a:noAutofit/>
          </a:bodyPr>
          <a:lstStyle/>
          <a:p>
            <a:pPr marL="0" indent="0">
              <a:lnSpc>
                <a:spcPct val="100000"/>
              </a:lnSpc>
              <a:buSzPct val="100000"/>
              <a:buNone/>
            </a:pPr>
            <a:r>
              <a:rPr lang="fi-FI" sz="1000" b="1" spc="-40" dirty="0">
                <a:solidFill>
                  <a:schemeClr val="bg1"/>
                </a:solidFill>
              </a:rPr>
              <a:t>Suhdanne</a:t>
            </a:r>
          </a:p>
          <a:p>
            <a:pPr marL="171450" indent="-171450">
              <a:lnSpc>
                <a:spcPct val="100000"/>
              </a:lnSpc>
              <a:buSzPct val="100000"/>
              <a:buFont typeface="Wingdings" panose="05000000000000000000" pitchFamily="2" charset="2"/>
              <a:buChar char="§"/>
            </a:pPr>
            <a:r>
              <a:rPr lang="fi-FI" sz="800" dirty="0">
                <a:solidFill>
                  <a:schemeClr val="bg1"/>
                </a:solidFill>
              </a:rPr>
              <a:t>Erityisesti asuinrakentamisessa viime vuodet olleet todella vaikeita. Luottamusindikaattorit (Tilastokeskus ja </a:t>
            </a:r>
            <a:r>
              <a:rPr lang="fi-FI" sz="800" dirty="0" err="1">
                <a:solidFill>
                  <a:schemeClr val="bg1"/>
                </a:solidFill>
              </a:rPr>
              <a:t>EK:n</a:t>
            </a:r>
            <a:r>
              <a:rPr lang="fi-FI" sz="800" dirty="0">
                <a:solidFill>
                  <a:schemeClr val="bg1"/>
                </a:solidFill>
              </a:rPr>
              <a:t> suhdannebarometri) luovat toivoa paremmista näkymistä loppuvuodelle.</a:t>
            </a:r>
          </a:p>
          <a:p>
            <a:pPr marL="171450" indent="-171450">
              <a:lnSpc>
                <a:spcPct val="100000"/>
              </a:lnSpc>
              <a:buSzPct val="100000"/>
              <a:buFont typeface="Wingdings" panose="05000000000000000000" pitchFamily="2" charset="2"/>
              <a:buChar char="§"/>
            </a:pPr>
            <a:r>
              <a:rPr lang="fi-FI" sz="800" dirty="0">
                <a:solidFill>
                  <a:schemeClr val="bg1"/>
                </a:solidFill>
              </a:rPr>
              <a:t>Myymättömien uusien asuntojen suuri määrä hidastaa uudisasuntojen rakentamisen elpymistä.</a:t>
            </a:r>
          </a:p>
          <a:p>
            <a:pPr marL="171450" indent="-171450">
              <a:lnSpc>
                <a:spcPct val="100000"/>
              </a:lnSpc>
              <a:buSzPct val="100000"/>
              <a:buFont typeface="Wingdings" panose="05000000000000000000" pitchFamily="2" charset="2"/>
              <a:buChar char="§"/>
            </a:pPr>
            <a:r>
              <a:rPr lang="fi-FI" sz="800" dirty="0">
                <a:solidFill>
                  <a:schemeClr val="bg1"/>
                </a:solidFill>
              </a:rPr>
              <a:t>Liike- ja toimitilarakentaminen sekä teollisuus- ja varastorakentaminen ovat olleet vähemmän suhdanneherkkiä asuntorakentamiseen nähden mutta yleinen markkinatilanne kurittaa myös näitä toimialoja. Julkisen sektorin säästöpaineet asettaa haasteita julkisrakentamisen määrälle.</a:t>
            </a:r>
          </a:p>
          <a:p>
            <a:pPr marL="171450" indent="-171450">
              <a:lnSpc>
                <a:spcPct val="100000"/>
              </a:lnSpc>
              <a:buSzPct val="100000"/>
              <a:buFont typeface="Wingdings" panose="05000000000000000000" pitchFamily="2" charset="2"/>
              <a:buChar char="§"/>
            </a:pPr>
            <a:r>
              <a:rPr lang="fi-FI" sz="800" dirty="0">
                <a:solidFill>
                  <a:schemeClr val="bg1"/>
                </a:solidFill>
              </a:rPr>
              <a:t>Toimitilarakentamisessa tilojen laatu ja sijainti korostuu, työskentelyn muodot hakevat yhä sijaansa.</a:t>
            </a:r>
          </a:p>
          <a:p>
            <a:pPr marL="171450" indent="-171450">
              <a:lnSpc>
                <a:spcPct val="100000"/>
              </a:lnSpc>
              <a:buSzPct val="100000"/>
              <a:buFont typeface="Wingdings" panose="05000000000000000000" pitchFamily="2" charset="2"/>
              <a:buChar char="§"/>
            </a:pPr>
            <a:r>
              <a:rPr lang="fi-FI" sz="800" dirty="0">
                <a:solidFill>
                  <a:schemeClr val="bg1"/>
                </a:solidFill>
              </a:rPr>
              <a:t>Rakentamisen alakulo näkyy myös rakennustuoteteollisuudessa kysynnän hiipumisena.</a:t>
            </a:r>
          </a:p>
          <a:p>
            <a:pPr marL="171450" indent="-171450">
              <a:lnSpc>
                <a:spcPct val="100000"/>
              </a:lnSpc>
              <a:buSzPct val="100000"/>
              <a:buFont typeface="Wingdings" panose="05000000000000000000" pitchFamily="2" charset="2"/>
              <a:buChar char="§"/>
            </a:pPr>
            <a:r>
              <a:rPr lang="fi-FI" sz="800" dirty="0">
                <a:solidFill>
                  <a:schemeClr val="bg1"/>
                </a:solidFill>
              </a:rPr>
              <a:t>Myönnettyjen rakennuslupien osalta vuonna 2024 on tapahtunut pientä tasaantumista aiempaan nähden.</a:t>
            </a:r>
          </a:p>
        </p:txBody>
      </p:sp>
      <p:sp>
        <p:nvSpPr>
          <p:cNvPr id="27" name="Content Placeholder 7">
            <a:extLst>
              <a:ext uri="{FF2B5EF4-FFF2-40B4-BE49-F238E27FC236}">
                <a16:creationId xmlns:a16="http://schemas.microsoft.com/office/drawing/2014/main" id="{4190599F-9657-7BD8-D803-DDA75278ED4A}"/>
              </a:ext>
            </a:extLst>
          </p:cNvPr>
          <p:cNvSpPr txBox="1">
            <a:spLocks/>
          </p:cNvSpPr>
          <p:nvPr/>
        </p:nvSpPr>
        <p:spPr>
          <a:xfrm>
            <a:off x="6197122" y="1213610"/>
            <a:ext cx="2522078" cy="1771200"/>
          </a:xfrm>
          <a:prstGeom prst="rect">
            <a:avLst/>
          </a:prstGeom>
        </p:spPr>
        <p:txBody>
          <a:bodyPr vert="horz" lIns="91440" tIns="45720" rIns="91440" bIns="45720" rtlCol="0">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l"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Kysyntäajurit</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Korkotason laskun ja inflaation hidastumisen arvioidaan tukevan sijoittajien, kotitalouksien ja taloyhtiöiden taloudellista tilannetta, jotka edesauttavat asuntokaupan piristymistä, toimitila- ja korjausrakentamisen kysyntää.</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Korjausrakentamista voi tukea kysynnän suuntautuminen vanhoihin edullisempiin kiinteistöihin kalliimpien uudisrakentamisen sijasta.</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Huoltovarmuuteen, turvallisuuteen ja puolustukseen liittyvä talonrakentaminen.</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Voiko päästöjen vähentäminen kääntyä tulevaisuudessa uudisrakentamista vastaan, jos päästökustannukset ovat suuremmat kuin rakentamatta jättäminen?</a:t>
            </a:r>
          </a:p>
        </p:txBody>
      </p:sp>
      <p:graphicFrame>
        <p:nvGraphicFramePr>
          <p:cNvPr id="8" name="Chart 7">
            <a:extLst>
              <a:ext uri="{FF2B5EF4-FFF2-40B4-BE49-F238E27FC236}">
                <a16:creationId xmlns:a16="http://schemas.microsoft.com/office/drawing/2014/main" id="{EC74EA8F-F6CF-6012-8EAE-ED77F7896744}"/>
              </a:ext>
            </a:extLst>
          </p:cNvPr>
          <p:cNvGraphicFramePr/>
          <p:nvPr>
            <p:extLst>
              <p:ext uri="{D42A27DB-BD31-4B8C-83A1-F6EECF244321}">
                <p14:modId xmlns:p14="http://schemas.microsoft.com/office/powerpoint/2010/main" val="4005116412"/>
              </p:ext>
            </p:extLst>
          </p:nvPr>
        </p:nvGraphicFramePr>
        <p:xfrm>
          <a:off x="338401" y="1187462"/>
          <a:ext cx="2645595" cy="3525566"/>
        </p:xfrm>
        <a:graphic>
          <a:graphicData uri="http://schemas.openxmlformats.org/drawingml/2006/chart">
            <c:chart xmlns:c="http://schemas.openxmlformats.org/drawingml/2006/chart" xmlns:r="http://schemas.openxmlformats.org/officeDocument/2006/relationships" r:id="rId2"/>
          </a:graphicData>
        </a:graphic>
      </p:graphicFrame>
      <p:sp>
        <p:nvSpPr>
          <p:cNvPr id="6" name="Päivämäärän paikkamerkki 3">
            <a:extLst>
              <a:ext uri="{FF2B5EF4-FFF2-40B4-BE49-F238E27FC236}">
                <a16:creationId xmlns:a16="http://schemas.microsoft.com/office/drawing/2014/main" id="{180C7C4B-A092-BD21-3543-FC828B9555F0}"/>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07181251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A49D038-9698-48EC-A1FF-88A20CF7269C}"/>
              </a:ext>
            </a:extLst>
          </p:cNvPr>
          <p:cNvGrpSpPr/>
          <p:nvPr/>
        </p:nvGrpSpPr>
        <p:grpSpPr>
          <a:xfrm>
            <a:off x="338400" y="1202481"/>
            <a:ext cx="8495640" cy="3525565"/>
            <a:chOff x="2293620" y="1202481"/>
            <a:chExt cx="6540420" cy="3525565"/>
          </a:xfrm>
        </p:grpSpPr>
        <p:sp>
          <p:nvSpPr>
            <p:cNvPr id="14" name="Rectangle 13">
              <a:extLst>
                <a:ext uri="{FF2B5EF4-FFF2-40B4-BE49-F238E27FC236}">
                  <a16:creationId xmlns:a16="http://schemas.microsoft.com/office/drawing/2014/main" id="{E6385F3F-0D60-C039-5F42-8059442A6C23}"/>
                </a:ext>
              </a:extLst>
            </p:cNvPr>
            <p:cNvSpPr/>
            <p:nvPr/>
          </p:nvSpPr>
          <p:spPr bwMode="auto">
            <a:xfrm>
              <a:off x="6797312" y="1202481"/>
              <a:ext cx="2036728" cy="3525565"/>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9EA4BE2-164E-2B29-C80D-EE3C438B0549}"/>
                </a:ext>
              </a:extLst>
            </p:cNvPr>
            <p:cNvSpPr/>
            <p:nvPr/>
          </p:nvSpPr>
          <p:spPr bwMode="auto">
            <a:xfrm>
              <a:off x="4545466" y="1202481"/>
              <a:ext cx="2036728" cy="3525565"/>
            </a:xfrm>
            <a:prstGeom prst="rect">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2293620" y="1202481"/>
              <a:ext cx="2036728" cy="352556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5</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a:t>Infrarakentamisen tilannekuva</a:t>
            </a:r>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Lähde: MANK, RT, SKOL, Tilastokeskus, Väylävirasto</a:t>
            </a:r>
          </a:p>
        </p:txBody>
      </p:sp>
      <p:sp>
        <p:nvSpPr>
          <p:cNvPr id="7" name="Text Placeholder 4">
            <a:extLst>
              <a:ext uri="{FF2B5EF4-FFF2-40B4-BE49-F238E27FC236}">
                <a16:creationId xmlns:a16="http://schemas.microsoft.com/office/drawing/2014/main" id="{76FDEB8C-2E41-F065-8112-4D2C092CE446}"/>
              </a:ext>
            </a:extLst>
          </p:cNvPr>
          <p:cNvSpPr txBox="1">
            <a:spLocks/>
          </p:cNvSpPr>
          <p:nvPr/>
        </p:nvSpPr>
        <p:spPr>
          <a:xfrm>
            <a:off x="3709838" y="290513"/>
            <a:ext cx="1898962" cy="250837"/>
          </a:xfrm>
          <a:prstGeom prst="rect">
            <a:avLst/>
          </a:prstGeom>
          <a:solidFill>
            <a:schemeClr val="accent5">
              <a:lumMod val="40000"/>
              <a:lumOff val="60000"/>
            </a:schemeClr>
          </a:solidFill>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288000" marR="0" lvl="0" indent="0" algn="l" defTabSz="806052" rtl="0" eaLnBrk="1" fontAlgn="auto" latinLnBrk="0" hangingPunct="1">
              <a:lnSpc>
                <a:spcPct val="100000"/>
              </a:lnSpc>
              <a:spcBef>
                <a:spcPts val="0"/>
              </a:spcBef>
              <a:spcAft>
                <a:spcPts val="0"/>
              </a:spcAft>
              <a:buClrTx/>
              <a:buSzPct val="125000"/>
              <a:buFontTx/>
              <a:buNone/>
              <a:tabLst/>
              <a:defRPr/>
            </a:pPr>
            <a:r>
              <a:rPr kumimoji="0" lang="fi-FI" sz="1000" b="1" i="0" u="none" strike="noStrike" kern="1200" cap="none" spc="0" normalizeH="0" baseline="0" noProof="0" dirty="0">
                <a:ln>
                  <a:noFill/>
                </a:ln>
                <a:solidFill>
                  <a:srgbClr val="29282E"/>
                </a:solidFill>
                <a:effectLst/>
                <a:uLnTx/>
                <a:uFillTx/>
                <a:latin typeface="Verdana" panose="020B0604030504040204" pitchFamily="34" charset="0"/>
                <a:ea typeface="Verdana" panose="020B0604030504040204" pitchFamily="34" charset="0"/>
              </a:rPr>
              <a:t>Infrarakentaminen</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967200" cy="250837"/>
          </a:xfrm>
          <a:prstGeom prst="homePlate">
            <a:avLst/>
          </a:prstGeom>
          <a:solidFill>
            <a:schemeClr val="accent5"/>
          </a:solidFill>
        </p:spPr>
        <p:txBody>
          <a:bodyPr>
            <a:noAutofit/>
          </a:bodyPr>
          <a:lstStyle/>
          <a:p>
            <a:pPr marL="288000"/>
            <a:r>
              <a:rPr lang="fi-FI">
                <a:solidFill>
                  <a:schemeClr val="bg1"/>
                </a:solidFill>
              </a:rPr>
              <a:t>Päätoimialojen suhdanteet ja investoinnit Suomessa</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3263422" y="1199564"/>
            <a:ext cx="2645596" cy="1771200"/>
          </a:xfrm>
        </p:spPr>
        <p:txBody>
          <a:bodyPr>
            <a:noAutofit/>
          </a:bodyPr>
          <a:lstStyle/>
          <a:p>
            <a:pPr marL="0" indent="0">
              <a:lnSpc>
                <a:spcPct val="100000"/>
              </a:lnSpc>
              <a:buSzPct val="100000"/>
              <a:buNone/>
            </a:pPr>
            <a:r>
              <a:rPr lang="fi-FI" sz="1000" b="1" spc="-40" dirty="0">
                <a:solidFill>
                  <a:schemeClr val="bg1"/>
                </a:solidFill>
              </a:rPr>
              <a:t>Suhdanne</a:t>
            </a:r>
          </a:p>
          <a:p>
            <a:pPr marL="171450" indent="-171450">
              <a:lnSpc>
                <a:spcPct val="100000"/>
              </a:lnSpc>
              <a:buSzPct val="100000"/>
              <a:buFont typeface="Wingdings" panose="05000000000000000000" pitchFamily="2" charset="2"/>
              <a:buChar char="§"/>
            </a:pPr>
            <a:r>
              <a:rPr lang="fi-FI" sz="800" dirty="0">
                <a:solidFill>
                  <a:schemeClr val="bg1"/>
                </a:solidFill>
              </a:rPr>
              <a:t>MANK arvioi infrarakentamisen supistuvan 2-3% vuonna 2024 mutta kääntyvän 3 % kasvuun vuonna 2025.</a:t>
            </a:r>
          </a:p>
          <a:p>
            <a:pPr marL="171450" indent="-171450">
              <a:lnSpc>
                <a:spcPct val="100000"/>
              </a:lnSpc>
              <a:buSzPct val="100000"/>
              <a:buFont typeface="Wingdings" panose="05000000000000000000" pitchFamily="2" charset="2"/>
              <a:buChar char="§"/>
            </a:pPr>
            <a:r>
              <a:rPr lang="fi-FI" sz="800" dirty="0" err="1">
                <a:solidFill>
                  <a:schemeClr val="bg1"/>
                </a:solidFill>
              </a:rPr>
              <a:t>SKOL:n</a:t>
            </a:r>
            <a:r>
              <a:rPr lang="fi-FI" sz="800" dirty="0">
                <a:solidFill>
                  <a:schemeClr val="bg1"/>
                </a:solidFill>
              </a:rPr>
              <a:t> elokuun suhdannekatsauksen mukaan kotimaassa infrasuunnittelun tilauskanta laski edellisestä kvartaalista (-2,6 %) mutta uudet tilaukset pysyivät samalla tasolla (+0,1 %). Vuoden takaiseen verrattuna tilauskanta laski 6,2 % mutta uusia tilauksia oli 1,1 % enemmän.</a:t>
            </a:r>
          </a:p>
          <a:p>
            <a:pPr marL="171450" indent="-171450">
              <a:lnSpc>
                <a:spcPct val="100000"/>
              </a:lnSpc>
              <a:buSzPct val="100000"/>
              <a:buFont typeface="Wingdings" panose="05000000000000000000" pitchFamily="2" charset="2"/>
              <a:buChar char="§"/>
            </a:pPr>
            <a:r>
              <a:rPr lang="fi-FI" sz="800" dirty="0">
                <a:solidFill>
                  <a:schemeClr val="bg1"/>
                </a:solidFill>
              </a:rPr>
              <a:t>Asuinrakentamisen heikko suhdanne vaikuttaa myös asuinrakennuskohteisiin liittyviin infrarakentajiin.</a:t>
            </a:r>
          </a:p>
          <a:p>
            <a:pPr marL="171450" indent="-171450">
              <a:lnSpc>
                <a:spcPct val="100000"/>
              </a:lnSpc>
              <a:buSzPct val="100000"/>
              <a:buFont typeface="Wingdings" panose="05000000000000000000" pitchFamily="2" charset="2"/>
              <a:buChar char="§"/>
            </a:pPr>
            <a:r>
              <a:rPr lang="fi-FI" sz="800" dirty="0">
                <a:solidFill>
                  <a:schemeClr val="bg1"/>
                </a:solidFill>
              </a:rPr>
              <a:t>Maarakennuskustannusten nousu on tasaantunut.</a:t>
            </a:r>
          </a:p>
        </p:txBody>
      </p:sp>
      <p:sp>
        <p:nvSpPr>
          <p:cNvPr id="27" name="Content Placeholder 7">
            <a:extLst>
              <a:ext uri="{FF2B5EF4-FFF2-40B4-BE49-F238E27FC236}">
                <a16:creationId xmlns:a16="http://schemas.microsoft.com/office/drawing/2014/main" id="{4190599F-9657-7BD8-D803-DDA75278ED4A}"/>
              </a:ext>
            </a:extLst>
          </p:cNvPr>
          <p:cNvSpPr txBox="1">
            <a:spLocks/>
          </p:cNvSpPr>
          <p:nvPr/>
        </p:nvSpPr>
        <p:spPr>
          <a:xfrm>
            <a:off x="6197122" y="1213610"/>
            <a:ext cx="2636918" cy="1771200"/>
          </a:xfrm>
          <a:prstGeom prst="rect">
            <a:avLst/>
          </a:prstGeom>
        </p:spPr>
        <p:txBody>
          <a:bodyPr vert="horz" lIns="91440" tIns="45720" rIns="91440" bIns="45720" rtlCol="0">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l"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Kysyntäajurit</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Suuret rata- ja raitiotieinvestoinnit tukevat kysyntää.</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Väylien korjausvelan purkamiseen lisärahoitusta 250 M€ vuonna 2024 ja esitys 200 M€ vuodelle 2025.</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Vihreän siirtymän investoinnit edellyttävät paljon infraan ja energiansiirtoon liittyviä hankkeita.</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Sähköisen liikenteen kasvu edellyttää latausinfran toteutusta ja kaivosalalla mm. akkumateriaalien etsintää.</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Huoltovarmuuden, turvallisuuden ja puolustuksen (mm. NATO) kehittäminen edellyttää panostuksia infraan.</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endPar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graphicFrame>
        <p:nvGraphicFramePr>
          <p:cNvPr id="6" name="Chart 5">
            <a:extLst>
              <a:ext uri="{FF2B5EF4-FFF2-40B4-BE49-F238E27FC236}">
                <a16:creationId xmlns:a16="http://schemas.microsoft.com/office/drawing/2014/main" id="{37B89598-5669-7B11-9490-D7B29270D5D5}"/>
              </a:ext>
            </a:extLst>
          </p:cNvPr>
          <p:cNvGraphicFramePr>
            <a:graphicFrameLocks/>
          </p:cNvGraphicFramePr>
          <p:nvPr>
            <p:extLst>
              <p:ext uri="{D42A27DB-BD31-4B8C-83A1-F6EECF244321}">
                <p14:modId xmlns:p14="http://schemas.microsoft.com/office/powerpoint/2010/main" val="3711360418"/>
              </p:ext>
            </p:extLst>
          </p:nvPr>
        </p:nvGraphicFramePr>
        <p:xfrm>
          <a:off x="338400" y="1199563"/>
          <a:ext cx="2645596" cy="3513465"/>
        </p:xfrm>
        <a:graphic>
          <a:graphicData uri="http://schemas.openxmlformats.org/drawingml/2006/chart">
            <c:chart xmlns:c="http://schemas.openxmlformats.org/drawingml/2006/chart" xmlns:r="http://schemas.openxmlformats.org/officeDocument/2006/relationships" r:id="rId2"/>
          </a:graphicData>
        </a:graphic>
      </p:graphicFrame>
      <p:sp>
        <p:nvSpPr>
          <p:cNvPr id="8" name="Päivämäärän paikkamerkki 3">
            <a:extLst>
              <a:ext uri="{FF2B5EF4-FFF2-40B4-BE49-F238E27FC236}">
                <a16:creationId xmlns:a16="http://schemas.microsoft.com/office/drawing/2014/main" id="{119AB02D-C025-E683-69C1-FDBFAD4B902E}"/>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381577736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6A49D038-9698-48EC-A1FF-88A20CF7269C}"/>
              </a:ext>
            </a:extLst>
          </p:cNvPr>
          <p:cNvGrpSpPr/>
          <p:nvPr/>
        </p:nvGrpSpPr>
        <p:grpSpPr>
          <a:xfrm>
            <a:off x="338400" y="1202481"/>
            <a:ext cx="8495640" cy="3525565"/>
            <a:chOff x="2293620" y="1202481"/>
            <a:chExt cx="6540420" cy="3525565"/>
          </a:xfrm>
        </p:grpSpPr>
        <p:sp>
          <p:nvSpPr>
            <p:cNvPr id="14" name="Rectangle 13">
              <a:extLst>
                <a:ext uri="{FF2B5EF4-FFF2-40B4-BE49-F238E27FC236}">
                  <a16:creationId xmlns:a16="http://schemas.microsoft.com/office/drawing/2014/main" id="{E6385F3F-0D60-C039-5F42-8059442A6C23}"/>
                </a:ext>
              </a:extLst>
            </p:cNvPr>
            <p:cNvSpPr/>
            <p:nvPr/>
          </p:nvSpPr>
          <p:spPr bwMode="auto">
            <a:xfrm>
              <a:off x="6797312" y="1202481"/>
              <a:ext cx="2036728" cy="3525565"/>
            </a:xfrm>
            <a:prstGeom prst="rect">
              <a:avLst/>
            </a:prstGeom>
            <a:solidFill>
              <a:schemeClr val="tx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5" name="Rectangle 14">
              <a:extLst>
                <a:ext uri="{FF2B5EF4-FFF2-40B4-BE49-F238E27FC236}">
                  <a16:creationId xmlns:a16="http://schemas.microsoft.com/office/drawing/2014/main" id="{A9EA4BE2-164E-2B29-C80D-EE3C438B0549}"/>
                </a:ext>
              </a:extLst>
            </p:cNvPr>
            <p:cNvSpPr/>
            <p:nvPr/>
          </p:nvSpPr>
          <p:spPr bwMode="auto">
            <a:xfrm>
              <a:off x="4545466" y="1202481"/>
              <a:ext cx="2036728" cy="3525565"/>
            </a:xfrm>
            <a:prstGeom prst="rect">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2293620" y="1202481"/>
              <a:ext cx="2036728" cy="352556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6</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564241" cy="367183"/>
          </a:xfrm>
        </p:spPr>
        <p:txBody>
          <a:bodyPr>
            <a:noAutofit/>
          </a:bodyPr>
          <a:lstStyle/>
          <a:p>
            <a:pPr marL="0"/>
            <a:r>
              <a:rPr lang="fi-FI" sz="2400"/>
              <a:t>Teollisuuden tilannekuva</a:t>
            </a:r>
          </a:p>
        </p:txBody>
      </p:sp>
      <p:sp>
        <p:nvSpPr>
          <p:cNvPr id="16" name="TextBox 15">
            <a:extLst>
              <a:ext uri="{FF2B5EF4-FFF2-40B4-BE49-F238E27FC236}">
                <a16:creationId xmlns:a16="http://schemas.microsoft.com/office/drawing/2014/main" id="{D84090F2-88BC-8B9A-A403-1B57A1BEE8D4}"/>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Lähde: EK, Teknologiateollisuus</a:t>
            </a:r>
          </a:p>
        </p:txBody>
      </p:sp>
      <p:sp>
        <p:nvSpPr>
          <p:cNvPr id="7" name="Text Placeholder 4">
            <a:extLst>
              <a:ext uri="{FF2B5EF4-FFF2-40B4-BE49-F238E27FC236}">
                <a16:creationId xmlns:a16="http://schemas.microsoft.com/office/drawing/2014/main" id="{76FDEB8C-2E41-F065-8112-4D2C092CE446}"/>
              </a:ext>
            </a:extLst>
          </p:cNvPr>
          <p:cNvSpPr txBox="1">
            <a:spLocks/>
          </p:cNvSpPr>
          <p:nvPr/>
        </p:nvSpPr>
        <p:spPr>
          <a:xfrm>
            <a:off x="3709838" y="290513"/>
            <a:ext cx="1898962" cy="250837"/>
          </a:xfrm>
          <a:prstGeom prst="rect">
            <a:avLst/>
          </a:prstGeom>
          <a:solidFill>
            <a:schemeClr val="accent5">
              <a:lumMod val="20000"/>
              <a:lumOff val="80000"/>
            </a:schemeClr>
          </a:solidFill>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288000" marR="0" lvl="0" indent="0" algn="l" defTabSz="806052" rtl="0" eaLnBrk="1" fontAlgn="auto" latinLnBrk="0" hangingPunct="1">
              <a:lnSpc>
                <a:spcPct val="100000"/>
              </a:lnSpc>
              <a:spcBef>
                <a:spcPts val="0"/>
              </a:spcBef>
              <a:spcAft>
                <a:spcPts val="0"/>
              </a:spcAft>
              <a:buClrTx/>
              <a:buSzPct val="125000"/>
              <a:buFontTx/>
              <a:buNone/>
              <a:tabLst/>
              <a:defRPr/>
            </a:pPr>
            <a:r>
              <a:rPr kumimoji="0" lang="fi-FI" sz="1000" b="1"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Teollisuus</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967200" cy="250837"/>
          </a:xfrm>
          <a:prstGeom prst="homePlate">
            <a:avLst/>
          </a:prstGeom>
          <a:solidFill>
            <a:schemeClr val="accent5"/>
          </a:solidFill>
        </p:spPr>
        <p:txBody>
          <a:bodyPr>
            <a:noAutofit/>
          </a:bodyPr>
          <a:lstStyle/>
          <a:p>
            <a:pPr marL="288000"/>
            <a:r>
              <a:rPr lang="fi-FI">
                <a:solidFill>
                  <a:schemeClr val="bg1"/>
                </a:solidFill>
              </a:rPr>
              <a:t>Päätoimialojen suhdanteet ja investoinnit Suomessa</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3263422" y="1199564"/>
            <a:ext cx="2561378" cy="1771200"/>
          </a:xfrm>
        </p:spPr>
        <p:txBody>
          <a:bodyPr>
            <a:noAutofit/>
          </a:bodyPr>
          <a:lstStyle/>
          <a:p>
            <a:pPr marL="0" indent="0">
              <a:lnSpc>
                <a:spcPct val="100000"/>
              </a:lnSpc>
              <a:buSzPct val="100000"/>
              <a:buNone/>
            </a:pPr>
            <a:r>
              <a:rPr lang="fi-FI" sz="1000" b="1" spc="-40" dirty="0">
                <a:solidFill>
                  <a:schemeClr val="bg1"/>
                </a:solidFill>
              </a:rPr>
              <a:t>Suhdanne</a:t>
            </a:r>
          </a:p>
          <a:p>
            <a:pPr marL="171450" indent="-171450">
              <a:lnSpc>
                <a:spcPct val="100000"/>
              </a:lnSpc>
              <a:buSzPct val="100000"/>
              <a:buFont typeface="Wingdings" panose="05000000000000000000" pitchFamily="2" charset="2"/>
              <a:buChar char="§"/>
            </a:pPr>
            <a:r>
              <a:rPr lang="fi-FI" sz="800" dirty="0" err="1">
                <a:solidFill>
                  <a:schemeClr val="bg1"/>
                </a:solidFill>
              </a:rPr>
              <a:t>EK:n</a:t>
            </a:r>
            <a:r>
              <a:rPr lang="fi-FI" sz="800" dirty="0">
                <a:solidFill>
                  <a:schemeClr val="bg1"/>
                </a:solidFill>
              </a:rPr>
              <a:t> suhdannebarometrin näkymien mukaan teollisuus virkoaa hitaasti syksyn aikana mutta arvion mukaan ensi vuodesta tulee tätä vuotta parempi. Myös Tilastokeskuksen luottamusindikaattori osoittaa varovaista nousua loppuvuodelle.</a:t>
            </a:r>
          </a:p>
          <a:p>
            <a:pPr marL="171450" indent="-171450">
              <a:lnSpc>
                <a:spcPct val="100000"/>
              </a:lnSpc>
              <a:buSzPct val="100000"/>
              <a:buFont typeface="Wingdings" panose="05000000000000000000" pitchFamily="2" charset="2"/>
              <a:buChar char="§"/>
            </a:pPr>
            <a:r>
              <a:rPr lang="fi-FI" sz="800" dirty="0">
                <a:solidFill>
                  <a:schemeClr val="bg1"/>
                </a:solidFill>
              </a:rPr>
              <a:t>Korkojen voimakas nousu ollut hidasteena investoinneille mutta vuonna 2024 korot ovat olleet laskusuunnassa, joka voi avata patoutunutta investointitarvetta.</a:t>
            </a:r>
          </a:p>
          <a:p>
            <a:pPr marL="171450" indent="-171450">
              <a:lnSpc>
                <a:spcPct val="100000"/>
              </a:lnSpc>
              <a:buSzPct val="100000"/>
              <a:buFont typeface="Wingdings" panose="05000000000000000000" pitchFamily="2" charset="2"/>
              <a:buChar char="§"/>
            </a:pPr>
            <a:r>
              <a:rPr lang="fi-FI" sz="800" dirty="0">
                <a:solidFill>
                  <a:schemeClr val="bg1"/>
                </a:solidFill>
              </a:rPr>
              <a:t>Teollisuushankkeiden toteutumisessa ja aikatauluissa epävarmuutta.</a:t>
            </a:r>
          </a:p>
          <a:p>
            <a:pPr marL="171450" indent="-171450">
              <a:lnSpc>
                <a:spcPct val="100000"/>
              </a:lnSpc>
              <a:buSzPct val="100000"/>
              <a:buFont typeface="Wingdings" panose="05000000000000000000" pitchFamily="2" charset="2"/>
              <a:buChar char="§"/>
            </a:pPr>
            <a:r>
              <a:rPr lang="fi-FI" sz="800" dirty="0">
                <a:solidFill>
                  <a:schemeClr val="bg1"/>
                </a:solidFill>
              </a:rPr>
              <a:t>Teollisuuden tilauskannassa pientä kohenemista mutta tilaukset yhä alle normaalitason.</a:t>
            </a:r>
          </a:p>
        </p:txBody>
      </p:sp>
      <p:sp>
        <p:nvSpPr>
          <p:cNvPr id="27" name="Content Placeholder 7">
            <a:extLst>
              <a:ext uri="{FF2B5EF4-FFF2-40B4-BE49-F238E27FC236}">
                <a16:creationId xmlns:a16="http://schemas.microsoft.com/office/drawing/2014/main" id="{4190599F-9657-7BD8-D803-DDA75278ED4A}"/>
              </a:ext>
            </a:extLst>
          </p:cNvPr>
          <p:cNvSpPr txBox="1">
            <a:spLocks/>
          </p:cNvSpPr>
          <p:nvPr/>
        </p:nvSpPr>
        <p:spPr>
          <a:xfrm>
            <a:off x="6197122" y="1213610"/>
            <a:ext cx="2636918" cy="1771200"/>
          </a:xfrm>
          <a:prstGeom prst="rect">
            <a:avLst/>
          </a:prstGeom>
        </p:spPr>
        <p:txBody>
          <a:bodyPr vert="horz" lIns="91440" tIns="45720" rIns="91440" bIns="45720" rtlCol="0">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l"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Kysyntäajurit</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Hallituksen verokannustin suurille vihreän siirtymän investoinneille valmistelussa.</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Hallitusohjelman yhden luukun palvelujen hankkeella pyrkimyksenä parantaa </a:t>
            </a:r>
            <a:r>
              <a:rPr kumimoji="0" lang="fi-FI" sz="800" b="0" i="0" u="none" strike="noStrike" kern="1200" cap="none" spc="-35" normalizeH="0" baseline="0" noProof="0" dirty="0" err="1">
                <a:ln>
                  <a:noFill/>
                </a:ln>
                <a:solidFill>
                  <a:srgbClr val="FFFFFF"/>
                </a:solidFill>
                <a:effectLst/>
                <a:uLnTx/>
                <a:uFillTx/>
                <a:latin typeface="Verdana" panose="020B0604030504040204" pitchFamily="34" charset="0"/>
                <a:ea typeface="Verdana" panose="020B0604030504040204" pitchFamily="34" charset="0"/>
              </a:rPr>
              <a:t>investointiluvituksen</a:t>
            </a: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 sujuvuutta ja ennakoitavuutta.</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Paljon vihreitä investointiaihioita erityisesti energiantuotannossa mutta keskeistä olisi saada vastaavasti energiaa hyödyntäviä investointeja (mm. vety-, akku-, datakeskus- yms. tuotantolaitokset) Suomeen.</a:t>
            </a:r>
          </a:p>
          <a:p>
            <a:pPr marL="171450" marR="0" lvl="0" indent="-171450" algn="l" defTabSz="806052" rtl="0" eaLnBrk="1" fontAlgn="auto" latinLnBrk="0" hangingPunct="1">
              <a:lnSpc>
                <a:spcPct val="100000"/>
              </a:lnSpc>
              <a:spcBef>
                <a:spcPts val="400"/>
              </a:spcBef>
              <a:spcAft>
                <a:spcPts val="300"/>
              </a:spcAft>
              <a:buClrTx/>
              <a:buSzPct val="100000"/>
              <a:buFont typeface="Wingdings" panose="05000000000000000000" pitchFamily="2" charset="2"/>
              <a:buChar char="§"/>
              <a:tabLst/>
              <a:defRPr/>
            </a:pPr>
            <a:r>
              <a:rPr kumimoji="0" lang="fi-FI" sz="800" b="0" i="0" u="none" strike="noStrike" kern="1200" cap="none" spc="-35" normalizeH="0" baseline="0" noProof="0" dirty="0">
                <a:ln>
                  <a:noFill/>
                </a:ln>
                <a:solidFill>
                  <a:srgbClr val="FFFFFF"/>
                </a:solidFill>
                <a:effectLst/>
                <a:uLnTx/>
                <a:uFillTx/>
                <a:latin typeface="Verdana" panose="020B0604030504040204" pitchFamily="34" charset="0"/>
                <a:ea typeface="Verdana" panose="020B0604030504040204" pitchFamily="34" charset="0"/>
              </a:rPr>
              <a:t>Huoltovarmuuteen, turvallisuuteen ja puolustusteollisuuteen liittyvät hankkeet.</a:t>
            </a:r>
          </a:p>
        </p:txBody>
      </p:sp>
      <p:graphicFrame>
        <p:nvGraphicFramePr>
          <p:cNvPr id="11" name="Chart 10">
            <a:extLst>
              <a:ext uri="{FF2B5EF4-FFF2-40B4-BE49-F238E27FC236}">
                <a16:creationId xmlns:a16="http://schemas.microsoft.com/office/drawing/2014/main" id="{BA9AFD32-8D2F-811A-1246-07375C674DA4}"/>
              </a:ext>
            </a:extLst>
          </p:cNvPr>
          <p:cNvGraphicFramePr>
            <a:graphicFrameLocks/>
          </p:cNvGraphicFramePr>
          <p:nvPr>
            <p:extLst>
              <p:ext uri="{D42A27DB-BD31-4B8C-83A1-F6EECF244321}">
                <p14:modId xmlns:p14="http://schemas.microsoft.com/office/powerpoint/2010/main" val="3740923314"/>
              </p:ext>
            </p:extLst>
          </p:nvPr>
        </p:nvGraphicFramePr>
        <p:xfrm>
          <a:off x="338401" y="1199564"/>
          <a:ext cx="2645596" cy="1771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DBED24A0-DD96-E104-6749-DD046077149D}"/>
              </a:ext>
            </a:extLst>
          </p:cNvPr>
          <p:cNvGraphicFramePr>
            <a:graphicFrameLocks/>
          </p:cNvGraphicFramePr>
          <p:nvPr>
            <p:extLst>
              <p:ext uri="{D42A27DB-BD31-4B8C-83A1-F6EECF244321}">
                <p14:modId xmlns:p14="http://schemas.microsoft.com/office/powerpoint/2010/main" val="3269967504"/>
              </p:ext>
            </p:extLst>
          </p:nvPr>
        </p:nvGraphicFramePr>
        <p:xfrm>
          <a:off x="338399" y="3054284"/>
          <a:ext cx="2645597" cy="1671429"/>
        </p:xfrm>
        <a:graphic>
          <a:graphicData uri="http://schemas.openxmlformats.org/drawingml/2006/chart">
            <c:chart xmlns:c="http://schemas.openxmlformats.org/drawingml/2006/chart" xmlns:r="http://schemas.openxmlformats.org/officeDocument/2006/relationships" r:id="rId3"/>
          </a:graphicData>
        </a:graphic>
      </p:graphicFrame>
      <p:sp>
        <p:nvSpPr>
          <p:cNvPr id="6" name="Päivämäärän paikkamerkki 3">
            <a:extLst>
              <a:ext uri="{FF2B5EF4-FFF2-40B4-BE49-F238E27FC236}">
                <a16:creationId xmlns:a16="http://schemas.microsoft.com/office/drawing/2014/main" id="{CFA52093-E5C3-F69E-66F7-6BACBA23AB4D}"/>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2899377281"/>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114FFFB-D4C7-8B5B-00FB-608CC2FB43D7}"/>
              </a:ext>
            </a:extLst>
          </p:cNvPr>
          <p:cNvSpPr/>
          <p:nvPr/>
        </p:nvSpPr>
        <p:spPr bwMode="auto">
          <a:xfrm>
            <a:off x="4610588" y="1118980"/>
            <a:ext cx="2052000" cy="3600000"/>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7</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667577" cy="367183"/>
          </a:xfrm>
        </p:spPr>
        <p:txBody>
          <a:bodyPr>
            <a:noAutofit/>
          </a:bodyPr>
          <a:lstStyle/>
          <a:p>
            <a:pPr marL="0"/>
            <a:r>
              <a:rPr lang="fi-FI" sz="1600" dirty="0"/>
              <a:t>Yhteenveto suunnittelu- ja konsultointialasta muissa Pohjoismaissa</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448800" cy="250837"/>
          </a:xfrm>
          <a:prstGeom prst="rect">
            <a:avLst/>
          </a:prstGeom>
          <a:solidFill>
            <a:schemeClr val="bg2"/>
          </a:solidFill>
        </p:spPr>
        <p:txBody>
          <a:bodyPr>
            <a:noAutofit/>
          </a:bodyPr>
          <a:lstStyle/>
          <a:p>
            <a:pPr marL="288000"/>
            <a:r>
              <a:rPr lang="fi-FI" dirty="0">
                <a:solidFill>
                  <a:schemeClr val="bg1"/>
                </a:solidFill>
              </a:rPr>
              <a:t>Markkinakehitys Pohjoismaissa</a:t>
            </a: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4613655" y="1116063"/>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a:solidFill>
                  <a:srgbClr val="FFFFFF"/>
                </a:solidFill>
              </a:rPr>
              <a:t>Islanti</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21" name="Rectangle 20">
            <a:extLst>
              <a:ext uri="{FF2B5EF4-FFF2-40B4-BE49-F238E27FC236}">
                <a16:creationId xmlns:a16="http://schemas.microsoft.com/office/drawing/2014/main" id="{5087A138-FBB0-0DF1-10F7-D1A3D7E2E6E9}"/>
              </a:ext>
            </a:extLst>
          </p:cNvPr>
          <p:cNvSpPr/>
          <p:nvPr/>
        </p:nvSpPr>
        <p:spPr bwMode="auto">
          <a:xfrm>
            <a:off x="6737353" y="1128994"/>
            <a:ext cx="2055068" cy="3587068"/>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2" name="Content Placeholder 7">
            <a:extLst>
              <a:ext uri="{FF2B5EF4-FFF2-40B4-BE49-F238E27FC236}">
                <a16:creationId xmlns:a16="http://schemas.microsoft.com/office/drawing/2014/main" id="{D1DE17D3-CB32-A32D-8364-084549CE53B7}"/>
              </a:ext>
            </a:extLst>
          </p:cNvPr>
          <p:cNvSpPr txBox="1">
            <a:spLocks/>
          </p:cNvSpPr>
          <p:nvPr/>
        </p:nvSpPr>
        <p:spPr>
          <a:xfrm>
            <a:off x="6743488" y="1113145"/>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Norja</a:t>
            </a:r>
          </a:p>
        </p:txBody>
      </p:sp>
      <p:sp>
        <p:nvSpPr>
          <p:cNvPr id="31" name="TextBox 30">
            <a:extLst>
              <a:ext uri="{FF2B5EF4-FFF2-40B4-BE49-F238E27FC236}">
                <a16:creationId xmlns:a16="http://schemas.microsoft.com/office/drawing/2014/main" id="{35B8EDE2-EBF6-149E-B3B2-A74F5EC54968}"/>
              </a:ext>
            </a:extLst>
          </p:cNvPr>
          <p:cNvSpPr txBox="1"/>
          <p:nvPr/>
        </p:nvSpPr>
        <p:spPr>
          <a:xfrm>
            <a:off x="4616472" y="1454500"/>
            <a:ext cx="2040231" cy="2157889"/>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fi-FI" sz="800" dirty="0">
                <a:solidFill>
                  <a:schemeClr val="bg1"/>
                </a:solidFill>
              </a:rPr>
              <a:t>Talous on kasvanut viimeisen 10 vuoden aika merkittävästi, mutta BKT:n kasvun on arvioitu nyt tilapäisesti hidastuvan.</a:t>
            </a:r>
          </a:p>
          <a:p>
            <a:pPr marL="144000" lvl="0" indent="-144000">
              <a:spcAft>
                <a:spcPts val="300"/>
              </a:spcAft>
              <a:buFont typeface="Arial" panose="020B0604020202020204" pitchFamily="34" charset="0"/>
              <a:buChar char="•"/>
            </a:pPr>
            <a:r>
              <a:rPr lang="fi-FI" sz="800" dirty="0">
                <a:solidFill>
                  <a:schemeClr val="bg1"/>
                </a:solidFill>
              </a:rPr>
              <a:t>Rakentamisen alalla on nähtävissä hidastumista viimeisten muutaman vuoden suuresta kasvuvauhdista.</a:t>
            </a:r>
          </a:p>
          <a:p>
            <a:pPr marL="144000" lvl="0" indent="-144000">
              <a:spcAft>
                <a:spcPts val="300"/>
              </a:spcAft>
              <a:buFont typeface="Arial" panose="020B0604020202020204" pitchFamily="34" charset="0"/>
              <a:buChar char="•"/>
            </a:pPr>
            <a:r>
              <a:rPr lang="fi-FI" sz="800" dirty="0">
                <a:solidFill>
                  <a:schemeClr val="bg1"/>
                </a:solidFill>
              </a:rPr>
              <a:t>Rakentamista tukee hallituksen allekirjoittama sopimus 35 000 asunnon lisäämisestä seuraavalle kymmenelle vuodelle vastatakseen asuntotarpeeseen. </a:t>
            </a:r>
          </a:p>
          <a:p>
            <a:pPr marL="144000" lvl="0" indent="-144000">
              <a:spcAft>
                <a:spcPts val="300"/>
              </a:spcAft>
              <a:buFont typeface="Arial" panose="020B0604020202020204" pitchFamily="34" charset="0"/>
              <a:buChar char="•"/>
            </a:pPr>
            <a:r>
              <a:rPr lang="fi-FI" sz="800" dirty="0">
                <a:solidFill>
                  <a:schemeClr val="bg1"/>
                </a:solidFill>
              </a:rPr>
              <a:t>Uusissa liikenneprojekteissa (liikennejärjestelyt, tiestö) on odotettavissa kysyntää suunnittelu- ja konsultointialalle.</a:t>
            </a:r>
          </a:p>
        </p:txBody>
      </p:sp>
      <p:sp>
        <p:nvSpPr>
          <p:cNvPr id="33" name="TextBox 32">
            <a:extLst>
              <a:ext uri="{FF2B5EF4-FFF2-40B4-BE49-F238E27FC236}">
                <a16:creationId xmlns:a16="http://schemas.microsoft.com/office/drawing/2014/main" id="{19E137EE-D266-CF5E-702A-4355477749DD}"/>
              </a:ext>
            </a:extLst>
          </p:cNvPr>
          <p:cNvSpPr txBox="1"/>
          <p:nvPr/>
        </p:nvSpPr>
        <p:spPr>
          <a:xfrm>
            <a:off x="6743238" y="1454500"/>
            <a:ext cx="2049183" cy="2896553"/>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fi-FI" sz="800" dirty="0">
                <a:solidFill>
                  <a:schemeClr val="bg1"/>
                </a:solidFill>
              </a:rPr>
              <a:t>Talous on kokenut merkittävää heiluntaa viimeisen 10 vuoden aikana.</a:t>
            </a:r>
          </a:p>
          <a:p>
            <a:pPr marL="144000" lvl="0" indent="-144000">
              <a:spcAft>
                <a:spcPts val="300"/>
              </a:spcAft>
              <a:buFont typeface="Arial" panose="020B0604020202020204" pitchFamily="34" charset="0"/>
              <a:buChar char="•"/>
            </a:pPr>
            <a:r>
              <a:rPr lang="fi-FI" sz="800" dirty="0">
                <a:solidFill>
                  <a:schemeClr val="bg1"/>
                </a:solidFill>
              </a:rPr>
              <a:t>Maassa on tulossa vaalit ja paljon uutta lainsäädäntöä ja hankkeita vireillä, joilla on vaikutusta sekä toimintaympäristöön että alan kysyntään.</a:t>
            </a:r>
          </a:p>
          <a:p>
            <a:pPr marL="144000" lvl="0" indent="-144000">
              <a:spcAft>
                <a:spcPts val="300"/>
              </a:spcAft>
              <a:buFont typeface="Arial" panose="020B0604020202020204" pitchFamily="34" charset="0"/>
              <a:buChar char="•"/>
            </a:pPr>
            <a:r>
              <a:rPr lang="fi-FI" sz="800" dirty="0">
                <a:solidFill>
                  <a:schemeClr val="bg1"/>
                </a:solidFill>
              </a:rPr>
              <a:t>Panostuksia kohdistuu </a:t>
            </a:r>
            <a:r>
              <a:rPr lang="fi-FI" sz="800" dirty="0" err="1">
                <a:solidFill>
                  <a:schemeClr val="bg1"/>
                </a:solidFill>
              </a:rPr>
              <a:t>resilienssin</a:t>
            </a:r>
            <a:r>
              <a:rPr lang="fi-FI" sz="800" dirty="0">
                <a:solidFill>
                  <a:schemeClr val="bg1"/>
                </a:solidFill>
              </a:rPr>
              <a:t> kasvattamiseen, infrastruktuurin kehittämiseen, energian tuotantoon ja yhteyksiin sekä vesien ja ympäristönhallintaan. </a:t>
            </a:r>
          </a:p>
          <a:p>
            <a:pPr marL="144000" lvl="0" indent="-144000">
              <a:spcAft>
                <a:spcPts val="300"/>
              </a:spcAft>
              <a:buFont typeface="Arial" panose="020B0604020202020204" pitchFamily="34" charset="0"/>
              <a:buChar char="•"/>
            </a:pPr>
            <a:r>
              <a:rPr lang="fi-FI" sz="800" dirty="0">
                <a:solidFill>
                  <a:schemeClr val="bg1"/>
                </a:solidFill>
              </a:rPr>
              <a:t>Suurilla konsultointialan yrityksillä on hyvät mahdollisuudet vastata monipuoliseen kysyntään laajalla palveluntarjoajallaan, kun taas pienemmät yritykset ovat keskittyneet erityisesti kiinteistöihin ja rakennukseen, jossa suunnittelun tilausten odotetaan hieman vähenevän.</a:t>
            </a:r>
          </a:p>
        </p:txBody>
      </p:sp>
      <p:sp>
        <p:nvSpPr>
          <p:cNvPr id="36" name="TextBox 35">
            <a:extLst>
              <a:ext uri="{FF2B5EF4-FFF2-40B4-BE49-F238E27FC236}">
                <a16:creationId xmlns:a16="http://schemas.microsoft.com/office/drawing/2014/main" id="{12C03DC7-E2D7-8F0E-EEBE-6FA3E1469DA9}"/>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Lähde: Nordic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Statistics</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database</a:t>
            </a: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RiNord</a:t>
            </a:r>
            <a:endPar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30978A5F-9EE8-8BC5-64ED-AE5B5278426A}"/>
              </a:ext>
            </a:extLst>
          </p:cNvPr>
          <p:cNvSpPr/>
          <p:nvPr/>
        </p:nvSpPr>
        <p:spPr bwMode="auto">
          <a:xfrm>
            <a:off x="401601" y="1128994"/>
            <a:ext cx="4131153" cy="3584034"/>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aphicFrame>
        <p:nvGraphicFramePr>
          <p:cNvPr id="10" name="Chart 9">
            <a:extLst>
              <a:ext uri="{FF2B5EF4-FFF2-40B4-BE49-F238E27FC236}">
                <a16:creationId xmlns:a16="http://schemas.microsoft.com/office/drawing/2014/main" id="{077EDBA0-FDAE-DC5B-C813-4DDF386FD36A}"/>
              </a:ext>
            </a:extLst>
          </p:cNvPr>
          <p:cNvGraphicFramePr/>
          <p:nvPr>
            <p:extLst>
              <p:ext uri="{D42A27DB-BD31-4B8C-83A1-F6EECF244321}">
                <p14:modId xmlns:p14="http://schemas.microsoft.com/office/powerpoint/2010/main" val="3480566855"/>
              </p:ext>
            </p:extLst>
          </p:nvPr>
        </p:nvGraphicFramePr>
        <p:xfrm>
          <a:off x="401602" y="1128995"/>
          <a:ext cx="4131152" cy="3584034"/>
        </p:xfrm>
        <a:graphic>
          <a:graphicData uri="http://schemas.openxmlformats.org/drawingml/2006/chart">
            <c:chart xmlns:c="http://schemas.openxmlformats.org/drawingml/2006/chart" xmlns:r="http://schemas.openxmlformats.org/officeDocument/2006/relationships" r:id="rId2"/>
          </a:graphicData>
        </a:graphic>
      </p:graphicFrame>
      <p:sp>
        <p:nvSpPr>
          <p:cNvPr id="6" name="Päivämäärän paikkamerkki 3">
            <a:extLst>
              <a:ext uri="{FF2B5EF4-FFF2-40B4-BE49-F238E27FC236}">
                <a16:creationId xmlns:a16="http://schemas.microsoft.com/office/drawing/2014/main" id="{9E8C4894-F9BC-3583-9252-DF5A4BBC5FD4}"/>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263494077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8</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7667577" cy="367183"/>
          </a:xfrm>
        </p:spPr>
        <p:txBody>
          <a:bodyPr>
            <a:noAutofit/>
          </a:bodyPr>
          <a:lstStyle/>
          <a:p>
            <a:pPr marL="0"/>
            <a:r>
              <a:rPr lang="fi-FI" sz="1600" dirty="0"/>
              <a:t>Yhteenveto suunnittelu- ja konsultointialasta muissa Pohjoismaissa</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0" y="290513"/>
            <a:ext cx="3448800" cy="250837"/>
          </a:xfrm>
          <a:prstGeom prst="rect">
            <a:avLst/>
          </a:prstGeom>
          <a:solidFill>
            <a:schemeClr val="bg2"/>
          </a:solidFill>
        </p:spPr>
        <p:txBody>
          <a:bodyPr>
            <a:noAutofit/>
          </a:bodyPr>
          <a:lstStyle/>
          <a:p>
            <a:pPr marL="288000"/>
            <a:r>
              <a:rPr lang="fi-FI" dirty="0">
                <a:solidFill>
                  <a:schemeClr val="bg1"/>
                </a:solidFill>
              </a:rPr>
              <a:t>Markkinakehitys Pohjoismaissa</a:t>
            </a:r>
          </a:p>
        </p:txBody>
      </p:sp>
      <p:sp>
        <p:nvSpPr>
          <p:cNvPr id="24" name="Rectangle 23">
            <a:extLst>
              <a:ext uri="{FF2B5EF4-FFF2-40B4-BE49-F238E27FC236}">
                <a16:creationId xmlns:a16="http://schemas.microsoft.com/office/drawing/2014/main" id="{AE17F279-7405-9CF5-7D59-2D801370287A}"/>
              </a:ext>
            </a:extLst>
          </p:cNvPr>
          <p:cNvSpPr/>
          <p:nvPr/>
        </p:nvSpPr>
        <p:spPr bwMode="auto">
          <a:xfrm>
            <a:off x="4606768" y="1122213"/>
            <a:ext cx="2052000" cy="3605834"/>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5" name="Content Placeholder 7">
            <a:extLst>
              <a:ext uri="{FF2B5EF4-FFF2-40B4-BE49-F238E27FC236}">
                <a16:creationId xmlns:a16="http://schemas.microsoft.com/office/drawing/2014/main" id="{F04F8D08-FA4A-BC57-2332-0BF449648EC8}"/>
              </a:ext>
            </a:extLst>
          </p:cNvPr>
          <p:cNvSpPr txBox="1">
            <a:spLocks/>
          </p:cNvSpPr>
          <p:nvPr/>
        </p:nvSpPr>
        <p:spPr>
          <a:xfrm>
            <a:off x="4609835" y="1125130"/>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Ruotsi</a:t>
            </a:r>
          </a:p>
        </p:txBody>
      </p:sp>
      <p:sp>
        <p:nvSpPr>
          <p:cNvPr id="28" name="Rectangle 27">
            <a:extLst>
              <a:ext uri="{FF2B5EF4-FFF2-40B4-BE49-F238E27FC236}">
                <a16:creationId xmlns:a16="http://schemas.microsoft.com/office/drawing/2014/main" id="{8F0FEF7D-ED30-F5D1-4DE6-FC815C93FDDE}"/>
              </a:ext>
            </a:extLst>
          </p:cNvPr>
          <p:cNvSpPr/>
          <p:nvPr/>
        </p:nvSpPr>
        <p:spPr bwMode="auto">
          <a:xfrm>
            <a:off x="6737753" y="1128994"/>
            <a:ext cx="2050847" cy="3596135"/>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29" name="Content Placeholder 7">
            <a:extLst>
              <a:ext uri="{FF2B5EF4-FFF2-40B4-BE49-F238E27FC236}">
                <a16:creationId xmlns:a16="http://schemas.microsoft.com/office/drawing/2014/main" id="{78517782-A171-91C7-1DBB-2F9DFC91A141}"/>
              </a:ext>
            </a:extLst>
          </p:cNvPr>
          <p:cNvSpPr txBox="1">
            <a:spLocks/>
          </p:cNvSpPr>
          <p:nvPr/>
        </p:nvSpPr>
        <p:spPr>
          <a:xfrm>
            <a:off x="6739668" y="1122212"/>
            <a:ext cx="2048933" cy="332602"/>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rPr>
              <a:t>Tanska</a:t>
            </a:r>
          </a:p>
        </p:txBody>
      </p:sp>
      <p:sp>
        <p:nvSpPr>
          <p:cNvPr id="34" name="TextBox 33">
            <a:extLst>
              <a:ext uri="{FF2B5EF4-FFF2-40B4-BE49-F238E27FC236}">
                <a16:creationId xmlns:a16="http://schemas.microsoft.com/office/drawing/2014/main" id="{DED6660B-F0AE-5D35-EAB3-AF14DFE219E1}"/>
              </a:ext>
            </a:extLst>
          </p:cNvPr>
          <p:cNvSpPr txBox="1"/>
          <p:nvPr/>
        </p:nvSpPr>
        <p:spPr>
          <a:xfrm>
            <a:off x="4616623" y="1446061"/>
            <a:ext cx="2040231" cy="2973497"/>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fi-FI" sz="800" dirty="0">
                <a:solidFill>
                  <a:schemeClr val="bg1"/>
                </a:solidFill>
              </a:rPr>
              <a:t>Talous on kasvanut maltillisesti viimeisen 10 vuoden aikana.</a:t>
            </a:r>
          </a:p>
          <a:p>
            <a:pPr marL="144000" lvl="0" indent="-144000">
              <a:spcAft>
                <a:spcPts val="300"/>
              </a:spcAft>
              <a:buFont typeface="Arial" panose="020B0604020202020204" pitchFamily="34" charset="0"/>
              <a:buChar char="•"/>
            </a:pPr>
            <a:r>
              <a:rPr lang="fi-FI" sz="800" dirty="0">
                <a:solidFill>
                  <a:schemeClr val="bg1"/>
                </a:solidFill>
              </a:rPr>
              <a:t>Rakentamisen ala on ollut lähiaikoina pienoisessa laskussa, mutta sen odotetaan piristyvän.</a:t>
            </a:r>
          </a:p>
          <a:p>
            <a:pPr marL="144000" lvl="0" indent="-144000">
              <a:spcAft>
                <a:spcPts val="300"/>
              </a:spcAft>
              <a:buFont typeface="Arial" panose="020B0604020202020204" pitchFamily="34" charset="0"/>
              <a:buChar char="•"/>
            </a:pPr>
            <a:r>
              <a:rPr lang="fi-FI" sz="800" dirty="0">
                <a:solidFill>
                  <a:schemeClr val="bg1"/>
                </a:solidFill>
              </a:rPr>
              <a:t>Infrastruktuuri vaatii investointeja ja ydinvoiman lisääminen on esillä. </a:t>
            </a:r>
          </a:p>
          <a:p>
            <a:pPr marL="144000" lvl="0" indent="-144000">
              <a:spcAft>
                <a:spcPts val="300"/>
              </a:spcAft>
              <a:buFont typeface="Arial" panose="020B0604020202020204" pitchFamily="34" charset="0"/>
              <a:buChar char="•"/>
            </a:pPr>
            <a:r>
              <a:rPr lang="fi-FI" sz="800" dirty="0">
                <a:solidFill>
                  <a:schemeClr val="bg1"/>
                </a:solidFill>
              </a:rPr>
              <a:t>Teknisen konsultoinnin alan työntekijöiden määrän ja hintojen odotetaan kasvavan. Osaamisvaje on alan suurin tulevaisuuden huoli.</a:t>
            </a:r>
          </a:p>
          <a:p>
            <a:pPr marL="144000" lvl="0" indent="-144000">
              <a:spcAft>
                <a:spcPts val="300"/>
              </a:spcAft>
              <a:buFont typeface="Arial" panose="020B0604020202020204" pitchFamily="34" charset="0"/>
              <a:buChar char="•"/>
            </a:pPr>
            <a:r>
              <a:rPr lang="fi-FI" sz="800" dirty="0">
                <a:solidFill>
                  <a:schemeClr val="bg1"/>
                </a:solidFill>
              </a:rPr>
              <a:t>Keskusteluissa kilpailukyvyn kasvattaminen, tulevaan osaamiseen panostaminen ja ilmastonmuutos. Pitkäaikaiset valttikortit innovatiivisuus ja kilpailukyky eivät ole enää entisellä tasolla.</a:t>
            </a:r>
          </a:p>
          <a:p>
            <a:pPr marL="144000" lvl="0" indent="-144000">
              <a:spcAft>
                <a:spcPts val="300"/>
              </a:spcAft>
              <a:buFont typeface="Arial" panose="020B0604020202020204" pitchFamily="34" charset="0"/>
              <a:buChar char="•"/>
            </a:pPr>
            <a:r>
              <a:rPr lang="fi-FI" sz="800" dirty="0">
                <a:solidFill>
                  <a:schemeClr val="bg1"/>
                </a:solidFill>
              </a:rPr>
              <a:t>Nykyisen regulaation, hankintojen ja T&amp;K-kannustimien ei koeta olevan optimoitu kilpailukyvyn tukemiseksi.</a:t>
            </a:r>
          </a:p>
        </p:txBody>
      </p:sp>
      <p:sp>
        <p:nvSpPr>
          <p:cNvPr id="35" name="TextBox 34">
            <a:extLst>
              <a:ext uri="{FF2B5EF4-FFF2-40B4-BE49-F238E27FC236}">
                <a16:creationId xmlns:a16="http://schemas.microsoft.com/office/drawing/2014/main" id="{5B79111E-92D0-097D-9BB4-BEEEE0F6D23D}"/>
              </a:ext>
            </a:extLst>
          </p:cNvPr>
          <p:cNvSpPr txBox="1"/>
          <p:nvPr/>
        </p:nvSpPr>
        <p:spPr>
          <a:xfrm>
            <a:off x="6743389" y="1446061"/>
            <a:ext cx="2049183" cy="2034779"/>
          </a:xfrm>
          <a:prstGeom prst="rect">
            <a:avLst/>
          </a:prstGeom>
          <a:noFill/>
        </p:spPr>
        <p:txBody>
          <a:bodyPr wrap="square" lIns="36000" tIns="36000" rIns="36000" bIns="36000">
            <a:spAutoFit/>
          </a:bodyPr>
          <a:lstStyle/>
          <a:p>
            <a:pPr marL="144000" lvl="0" indent="-144000">
              <a:spcAft>
                <a:spcPts val="300"/>
              </a:spcAft>
              <a:buFont typeface="Arial" panose="020B0604020202020204" pitchFamily="34" charset="0"/>
              <a:buChar char="•"/>
            </a:pPr>
            <a:r>
              <a:rPr lang="fi-FI" sz="800" dirty="0">
                <a:solidFill>
                  <a:schemeClr val="bg1"/>
                </a:solidFill>
              </a:rPr>
              <a:t>Talous on kasvanut viimeisen 10 vuoden aikana selkeästi.</a:t>
            </a:r>
          </a:p>
          <a:p>
            <a:pPr marL="144000" lvl="0" indent="-144000">
              <a:spcAft>
                <a:spcPts val="300"/>
              </a:spcAft>
              <a:buFont typeface="Arial" panose="020B0604020202020204" pitchFamily="34" charset="0"/>
              <a:buChar char="•"/>
            </a:pPr>
            <a:r>
              <a:rPr lang="fi-FI" sz="800" dirty="0">
                <a:solidFill>
                  <a:schemeClr val="bg1"/>
                </a:solidFill>
              </a:rPr>
              <a:t>Teollisuuden prosessi- ja tuotantosektorin kehitys on ollut positiivista ja kiihtynyt viimeisen 6 vuoden aikana. </a:t>
            </a:r>
          </a:p>
          <a:p>
            <a:pPr marL="144000" lvl="0" indent="-144000">
              <a:spcAft>
                <a:spcPts val="300"/>
              </a:spcAft>
              <a:buFont typeface="Arial" panose="020B0604020202020204" pitchFamily="34" charset="0"/>
              <a:buChar char="•"/>
            </a:pPr>
            <a:r>
              <a:rPr lang="fi-FI" sz="800" dirty="0">
                <a:solidFill>
                  <a:schemeClr val="bg1"/>
                </a:solidFill>
              </a:rPr>
              <a:t>Suurin markkinahuoli Tanskassa on henkilöstön määrän riittämättömyys tulevaisuudessa. </a:t>
            </a:r>
          </a:p>
          <a:p>
            <a:pPr marL="144000" lvl="0" indent="-144000">
              <a:spcAft>
                <a:spcPts val="300"/>
              </a:spcAft>
              <a:buFont typeface="Arial" panose="020B0604020202020204" pitchFamily="34" charset="0"/>
              <a:buChar char="•"/>
            </a:pPr>
            <a:r>
              <a:rPr lang="fi-FI" sz="800" dirty="0">
                <a:solidFill>
                  <a:schemeClr val="bg1"/>
                </a:solidFill>
              </a:rPr>
              <a:t>Maan regulaatio on muutoksen alla ja vahvaa panostusta ilmasto- ja ympäristöasioihin on havaittavissa. Tämä tulee lisäämän kysyntää suunnittelu- ja konsultointialan palveluille.</a:t>
            </a:r>
          </a:p>
        </p:txBody>
      </p:sp>
      <p:sp>
        <p:nvSpPr>
          <p:cNvPr id="36" name="TextBox 35">
            <a:extLst>
              <a:ext uri="{FF2B5EF4-FFF2-40B4-BE49-F238E27FC236}">
                <a16:creationId xmlns:a16="http://schemas.microsoft.com/office/drawing/2014/main" id="{12C03DC7-E2D7-8F0E-EEBE-6FA3E1469DA9}"/>
              </a:ext>
            </a:extLst>
          </p:cNvPr>
          <p:cNvSpPr txBox="1"/>
          <p:nvPr/>
        </p:nvSpPr>
        <p:spPr>
          <a:xfrm>
            <a:off x="338400" y="4907756"/>
            <a:ext cx="8454021" cy="180425"/>
          </a:xfrm>
          <a:prstGeom prst="rect">
            <a:avLst/>
          </a:prstGeom>
          <a:noFill/>
        </p:spPr>
        <p:txBody>
          <a:bodyPr wrap="square" lIns="36000" tIns="36000" rIns="36000" bIns="36000" rtlCol="0">
            <a:spAutoFit/>
          </a:bodyPr>
          <a:lstStyle/>
          <a:p>
            <a:pPr marL="0" marR="0" lvl="0" indent="0" algn="ctr"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rPr>
              <a:t>Lähde: Eurostat, </a:t>
            </a:r>
            <a:r>
              <a:rPr kumimoji="0" lang="fi-FI" sz="700" b="0" i="0" u="none" strike="noStrike" kern="1200" cap="none" spc="-40" normalizeH="0" baseline="0" noProof="0" dirty="0" err="1">
                <a:ln>
                  <a:noFill/>
                </a:ln>
                <a:solidFill>
                  <a:srgbClr val="29282E">
                    <a:lumMod val="75000"/>
                    <a:lumOff val="25000"/>
                  </a:srgbClr>
                </a:solidFill>
                <a:effectLst/>
                <a:uLnTx/>
                <a:uFillTx/>
                <a:latin typeface="Verdana"/>
                <a:ea typeface="+mn-ea"/>
                <a:cs typeface="+mn-cs"/>
              </a:rPr>
              <a:t>RiNord</a:t>
            </a:r>
            <a:endParaRPr kumimoji="0" lang="fi-FI" sz="700" b="0" i="0" u="none" strike="noStrike" kern="1200" cap="none" spc="-40" normalizeH="0" baseline="0" noProof="0" dirty="0">
              <a:ln>
                <a:noFill/>
              </a:ln>
              <a:solidFill>
                <a:srgbClr val="29282E">
                  <a:lumMod val="75000"/>
                  <a:lumOff val="25000"/>
                </a:srgbClr>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2CB23B71-DD0A-7A15-BF16-7226F53597FB}"/>
              </a:ext>
            </a:extLst>
          </p:cNvPr>
          <p:cNvSpPr/>
          <p:nvPr/>
        </p:nvSpPr>
        <p:spPr bwMode="auto">
          <a:xfrm>
            <a:off x="401602" y="1128994"/>
            <a:ext cx="4130400" cy="3596135"/>
          </a:xfrm>
          <a:prstGeom prst="rect">
            <a:avLst/>
          </a:prstGeom>
          <a:solidFill>
            <a:schemeClr val="bg1"/>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graphicFrame>
        <p:nvGraphicFramePr>
          <p:cNvPr id="8" name="Chart 7">
            <a:extLst>
              <a:ext uri="{FF2B5EF4-FFF2-40B4-BE49-F238E27FC236}">
                <a16:creationId xmlns:a16="http://schemas.microsoft.com/office/drawing/2014/main" id="{D081A84E-4DFD-496C-89B0-1D28DEF05CAE}"/>
              </a:ext>
            </a:extLst>
          </p:cNvPr>
          <p:cNvGraphicFramePr/>
          <p:nvPr>
            <p:extLst>
              <p:ext uri="{D42A27DB-BD31-4B8C-83A1-F6EECF244321}">
                <p14:modId xmlns:p14="http://schemas.microsoft.com/office/powerpoint/2010/main" val="1473724212"/>
              </p:ext>
            </p:extLst>
          </p:nvPr>
        </p:nvGraphicFramePr>
        <p:xfrm>
          <a:off x="401603" y="1141937"/>
          <a:ext cx="4123800" cy="3571092"/>
        </p:xfrm>
        <a:graphic>
          <a:graphicData uri="http://schemas.openxmlformats.org/drawingml/2006/chart">
            <c:chart xmlns:c="http://schemas.openxmlformats.org/drawingml/2006/chart" xmlns:r="http://schemas.openxmlformats.org/officeDocument/2006/relationships" r:id="rId2"/>
          </a:graphicData>
        </a:graphic>
      </p:graphicFrame>
      <p:sp>
        <p:nvSpPr>
          <p:cNvPr id="7" name="Päivämäärän paikkamerkki 3">
            <a:extLst>
              <a:ext uri="{FF2B5EF4-FFF2-40B4-BE49-F238E27FC236}">
                <a16:creationId xmlns:a16="http://schemas.microsoft.com/office/drawing/2014/main" id="{E8FA8CB2-643B-6242-4EE1-249273A1CBC3}"/>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428365364"/>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9EA4BE2-164E-2B29-C80D-EE3C438B0549}"/>
              </a:ext>
            </a:extLst>
          </p:cNvPr>
          <p:cNvSpPr/>
          <p:nvPr/>
        </p:nvSpPr>
        <p:spPr bwMode="auto">
          <a:xfrm>
            <a:off x="473162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a:ln>
                <a:noFill/>
              </a:ln>
              <a:solidFill>
                <a:srgbClr val="29282E"/>
              </a:solidFill>
              <a:effectLst/>
              <a:uLnTx/>
              <a:uFillTx/>
              <a:latin typeface="Verdana"/>
              <a:ea typeface="+mn-ea"/>
              <a:cs typeface="+mn-cs"/>
            </a:endParaRPr>
          </a:p>
        </p:txBody>
      </p:sp>
      <p:sp>
        <p:nvSpPr>
          <p:cNvPr id="19" name="Rectangle 18">
            <a:extLst>
              <a:ext uri="{FF2B5EF4-FFF2-40B4-BE49-F238E27FC236}">
                <a16:creationId xmlns:a16="http://schemas.microsoft.com/office/drawing/2014/main" id="{E114FFFB-D4C7-8B5B-00FB-608CC2FB43D7}"/>
              </a:ext>
            </a:extLst>
          </p:cNvPr>
          <p:cNvSpPr/>
          <p:nvPr/>
        </p:nvSpPr>
        <p:spPr bwMode="auto">
          <a:xfrm>
            <a:off x="338400" y="1199564"/>
            <a:ext cx="4060800" cy="3525565"/>
          </a:xfrm>
          <a:prstGeom prst="rect">
            <a:avLst/>
          </a:prstGeom>
          <a:solidFill>
            <a:schemeClr val="accent6"/>
          </a:solidFill>
          <a:ln>
            <a:noFill/>
          </a:ln>
        </p:spPr>
        <p:txBody>
          <a:bodyPr vert="horz" wrap="square" lIns="91440" tIns="45720" rIns="91440" bIns="45720" numCol="1" rtlCol="0" anchor="t" anchorCtr="0" compatLnSpc="1">
            <a:prstTxWarp prst="textNoShape">
              <a:avLst/>
            </a:prstTxWarp>
          </a:bodyPr>
          <a:lstStyle/>
          <a:p>
            <a:pPr marL="0" marR="0" lvl="0" indent="0" algn="ctr" defTabSz="679871" rtl="0" eaLnBrk="1" fontAlgn="auto" latinLnBrk="0" hangingPunct="1">
              <a:lnSpc>
                <a:spcPct val="100000"/>
              </a:lnSpc>
              <a:spcBef>
                <a:spcPts val="0"/>
              </a:spcBef>
              <a:spcAft>
                <a:spcPts val="0"/>
              </a:spcAft>
              <a:buClrTx/>
              <a:buSzTx/>
              <a:buFontTx/>
              <a:buNone/>
              <a:tabLst/>
              <a:defRPr/>
            </a:pPr>
            <a:endParaRPr kumimoji="0" lang="fi-FI" sz="1340" b="0" i="0" u="none" strike="noStrike" kern="1200" cap="none" spc="0" normalizeH="0" baseline="0" noProof="0" dirty="0">
              <a:ln>
                <a:noFill/>
              </a:ln>
              <a:solidFill>
                <a:srgbClr val="29282E"/>
              </a:solidFill>
              <a:effectLst/>
              <a:uLnTx/>
              <a:uFillTx/>
              <a:latin typeface="Verdana"/>
              <a:ea typeface="+mn-ea"/>
              <a:cs typeface="+mn-cs"/>
            </a:endParaRPr>
          </a:p>
        </p:txBody>
      </p:sp>
      <p:sp>
        <p:nvSpPr>
          <p:cNvPr id="2" name="Slide Number Placeholder 1">
            <a:extLst>
              <a:ext uri="{FF2B5EF4-FFF2-40B4-BE49-F238E27FC236}">
                <a16:creationId xmlns:a16="http://schemas.microsoft.com/office/drawing/2014/main" id="{FAED39DC-8224-AECC-B974-B616DD4DA7E9}"/>
              </a:ext>
            </a:extLst>
          </p:cNvPr>
          <p:cNvSpPr>
            <a:spLocks noGrp="1"/>
          </p:cNvSpPr>
          <p:nvPr>
            <p:ph type="sldNum" sz="quarter" idx="12"/>
          </p:nvPr>
        </p:nvSpPr>
        <p:spPr/>
        <p:txBody>
          <a:body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9</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
        <p:nvSpPr>
          <p:cNvPr id="4" name="Footer Placeholder 3">
            <a:extLst>
              <a:ext uri="{FF2B5EF4-FFF2-40B4-BE49-F238E27FC236}">
                <a16:creationId xmlns:a16="http://schemas.microsoft.com/office/drawing/2014/main" id="{BF9FC8FC-1C54-8713-BFF3-B5A465BB196B}"/>
              </a:ext>
            </a:extLst>
          </p:cNvPr>
          <p:cNvSpPr>
            <a:spLocks noGrp="1"/>
          </p:cNvSpPr>
          <p:nvPr>
            <p:ph type="ftr" sz="quarter" idx="11"/>
          </p:nvPr>
        </p:nvSpPr>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SKOL</a:t>
            </a:r>
          </a:p>
        </p:txBody>
      </p:sp>
      <p:sp>
        <p:nvSpPr>
          <p:cNvPr id="9" name="Text Placeholder 8">
            <a:extLst>
              <a:ext uri="{FF2B5EF4-FFF2-40B4-BE49-F238E27FC236}">
                <a16:creationId xmlns:a16="http://schemas.microsoft.com/office/drawing/2014/main" id="{ABD824EA-818A-2135-5900-9AC6EC2417EA}"/>
              </a:ext>
            </a:extLst>
          </p:cNvPr>
          <p:cNvSpPr>
            <a:spLocks noGrp="1"/>
          </p:cNvSpPr>
          <p:nvPr>
            <p:ph type="body" sz="quarter" idx="20"/>
          </p:nvPr>
        </p:nvSpPr>
        <p:spPr>
          <a:xfrm>
            <a:off x="338400" y="688324"/>
            <a:ext cx="8491308" cy="367183"/>
          </a:xfrm>
        </p:spPr>
        <p:txBody>
          <a:bodyPr>
            <a:noAutofit/>
          </a:bodyPr>
          <a:lstStyle/>
          <a:p>
            <a:pPr marL="0"/>
            <a:r>
              <a:rPr lang="fi-FI" sz="2400" dirty="0"/>
              <a:t>Ulkomaisen työvoiman hyödyntäminen</a:t>
            </a:r>
          </a:p>
        </p:txBody>
      </p:sp>
      <p:sp>
        <p:nvSpPr>
          <p:cNvPr id="5" name="Text Placeholder 4">
            <a:extLst>
              <a:ext uri="{FF2B5EF4-FFF2-40B4-BE49-F238E27FC236}">
                <a16:creationId xmlns:a16="http://schemas.microsoft.com/office/drawing/2014/main" id="{869A9178-4BCB-85F1-CF83-0E36382A95D1}"/>
              </a:ext>
            </a:extLst>
          </p:cNvPr>
          <p:cNvSpPr>
            <a:spLocks noGrp="1"/>
          </p:cNvSpPr>
          <p:nvPr>
            <p:ph type="body" sz="quarter" idx="18"/>
          </p:nvPr>
        </p:nvSpPr>
        <p:spPr>
          <a:xfrm>
            <a:off x="-1" y="290513"/>
            <a:ext cx="4385424" cy="250837"/>
          </a:xfrm>
          <a:prstGeom prst="rect">
            <a:avLst/>
          </a:prstGeom>
          <a:solidFill>
            <a:schemeClr val="accent6"/>
          </a:solidFill>
        </p:spPr>
        <p:txBody>
          <a:bodyPr>
            <a:noAutofit/>
          </a:bodyPr>
          <a:lstStyle/>
          <a:p>
            <a:pPr marL="288000"/>
            <a:r>
              <a:rPr lang="fi-FI" dirty="0">
                <a:solidFill>
                  <a:schemeClr val="bg1"/>
                </a:solidFill>
              </a:rPr>
              <a:t>Ulkomaisen työvoiman hyödyntämismahdollisuudet</a:t>
            </a:r>
          </a:p>
        </p:txBody>
      </p:sp>
      <p:sp>
        <p:nvSpPr>
          <p:cNvPr id="26" name="Content Placeholder 7">
            <a:extLst>
              <a:ext uri="{FF2B5EF4-FFF2-40B4-BE49-F238E27FC236}">
                <a16:creationId xmlns:a16="http://schemas.microsoft.com/office/drawing/2014/main" id="{9442913D-3C49-A45D-44C5-D96C4FA232A3}"/>
              </a:ext>
            </a:extLst>
          </p:cNvPr>
          <p:cNvSpPr>
            <a:spLocks noGrp="1"/>
          </p:cNvSpPr>
          <p:nvPr>
            <p:ph idx="19"/>
          </p:nvPr>
        </p:nvSpPr>
        <p:spPr>
          <a:xfrm>
            <a:off x="4731619" y="1199564"/>
            <a:ext cx="4060801" cy="367183"/>
          </a:xfrm>
        </p:spPr>
        <p:txBody>
          <a:bodyPr lIns="36000" rIns="36000" anchor="ctr">
            <a:noAutofit/>
          </a:bodyPr>
          <a:lstStyle/>
          <a:p>
            <a:pPr marL="0" indent="0" algn="ctr">
              <a:lnSpc>
                <a:spcPct val="100000"/>
              </a:lnSpc>
              <a:buSzPct val="100000"/>
              <a:buNone/>
            </a:pPr>
            <a:r>
              <a:rPr lang="fi-FI" sz="1000" b="1" spc="-40" dirty="0">
                <a:solidFill>
                  <a:schemeClr val="bg1"/>
                </a:solidFill>
              </a:rPr>
              <a:t>SKOL-yritysten ja elinkeinoelämän järjestöjen näkemyksiä </a:t>
            </a:r>
          </a:p>
        </p:txBody>
      </p:sp>
      <p:sp>
        <p:nvSpPr>
          <p:cNvPr id="13" name="Content Placeholder 7">
            <a:extLst>
              <a:ext uri="{FF2B5EF4-FFF2-40B4-BE49-F238E27FC236}">
                <a16:creationId xmlns:a16="http://schemas.microsoft.com/office/drawing/2014/main" id="{2C731826-18A9-37BF-BF16-C8EC11D85DC5}"/>
              </a:ext>
            </a:extLst>
          </p:cNvPr>
          <p:cNvSpPr txBox="1">
            <a:spLocks/>
          </p:cNvSpPr>
          <p:nvPr/>
        </p:nvSpPr>
        <p:spPr>
          <a:xfrm>
            <a:off x="341466" y="1237062"/>
            <a:ext cx="4043957" cy="292186"/>
          </a:xfrm>
          <a:prstGeom prst="rect">
            <a:avLst/>
          </a:prstGeom>
        </p:spPr>
        <p:txBody>
          <a:bodyPr vert="horz" lIns="91440" tIns="45720" rIns="91440" bIns="45720" rtlCol="0" anchor="ctr">
            <a:no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rgbClr val="000000"/>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marR="0" lvl="0" indent="0" algn="ctr" defTabSz="806052" rtl="0" eaLnBrk="1" fontAlgn="auto" latinLnBrk="0" hangingPunct="1">
              <a:lnSpc>
                <a:spcPct val="100000"/>
              </a:lnSpc>
              <a:spcBef>
                <a:spcPts val="400"/>
              </a:spcBef>
              <a:spcAft>
                <a:spcPts val="300"/>
              </a:spcAft>
              <a:buClrTx/>
              <a:buSzPct val="100000"/>
              <a:buFont typeface="Arial" panose="020B0604020202020204" pitchFamily="34" charset="0"/>
              <a:buNone/>
              <a:tabLst/>
              <a:defRPr/>
            </a:pPr>
            <a:r>
              <a:rPr lang="fi-FI" sz="1000" b="1" spc="-40" dirty="0">
                <a:solidFill>
                  <a:srgbClr val="FFFFFF"/>
                </a:solidFill>
              </a:rPr>
              <a:t>Yleiskuvaus</a:t>
            </a:r>
            <a:endParaRPr kumimoji="0" lang="fi-FI" sz="1000" b="1" i="0" u="none" strike="noStrike" kern="1200" cap="none" spc="-40" normalizeH="0" baseline="0" noProof="0" dirty="0">
              <a:ln>
                <a:noFill/>
              </a:ln>
              <a:solidFill>
                <a:srgbClr val="FFFFFF"/>
              </a:solidFill>
              <a:effectLst/>
              <a:uLnTx/>
              <a:uFillTx/>
              <a:latin typeface="Verdana" panose="020B0604030504040204" pitchFamily="34" charset="0"/>
              <a:ea typeface="Verdana" panose="020B0604030504040204" pitchFamily="34" charset="0"/>
            </a:endParaRPr>
          </a:p>
        </p:txBody>
      </p:sp>
      <p:sp>
        <p:nvSpPr>
          <p:cNvPr id="11" name="TextBox 10">
            <a:extLst>
              <a:ext uri="{FF2B5EF4-FFF2-40B4-BE49-F238E27FC236}">
                <a16:creationId xmlns:a16="http://schemas.microsoft.com/office/drawing/2014/main" id="{86F0B53E-3462-216A-1FEB-0842AEA66D0A}"/>
              </a:ext>
            </a:extLst>
          </p:cNvPr>
          <p:cNvSpPr txBox="1"/>
          <p:nvPr/>
        </p:nvSpPr>
        <p:spPr>
          <a:xfrm>
            <a:off x="351580" y="1566746"/>
            <a:ext cx="4033843" cy="2008242"/>
          </a:xfrm>
          <a:prstGeom prst="rect">
            <a:avLst/>
          </a:prstGeom>
          <a:noFill/>
        </p:spPr>
        <p:txBody>
          <a:bodyPr wrap="square" lIns="72000" rIns="72000">
            <a:spAutoFit/>
          </a:bodyPr>
          <a:lstStyle/>
          <a:p>
            <a:pPr marL="171450" indent="-171450">
              <a:spcAft>
                <a:spcPts val="300"/>
              </a:spcAft>
              <a:buFont typeface="Arial" panose="020B0604020202020204" pitchFamily="34" charset="0"/>
              <a:buChar char="•"/>
            </a:pPr>
            <a:r>
              <a:rPr lang="fi-FI" sz="800" dirty="0">
                <a:solidFill>
                  <a:schemeClr val="bg1"/>
                </a:solidFill>
                <a:latin typeface="+mj-lt"/>
              </a:rPr>
              <a:t>Kevään 2024 arvion mukaan SKOL-yritysten näkökulmasta tekniikan alojen työllisten yli- ja alijäämä indikoi lähes 1 000 osaajan kokonaisalijäämää vuosille 2025-2029.</a:t>
            </a:r>
          </a:p>
          <a:p>
            <a:pPr marL="171450" indent="-171450">
              <a:spcAft>
                <a:spcPts val="300"/>
              </a:spcAft>
              <a:buFont typeface="Arial" panose="020B0604020202020204" pitchFamily="34" charset="0"/>
              <a:buChar char="•"/>
            </a:pPr>
            <a:r>
              <a:rPr lang="fi-FI" sz="800" dirty="0">
                <a:solidFill>
                  <a:schemeClr val="bg1"/>
                </a:solidFill>
                <a:latin typeface="+mj-lt"/>
              </a:rPr>
              <a:t>Osaajatarjonnan ylläpitämiseksi täytyy huolehtia, että teknisten alojen koulutuksessa on riittävästi aloituspaikkoja. </a:t>
            </a:r>
          </a:p>
          <a:p>
            <a:pPr marL="171450" indent="-171450">
              <a:spcAft>
                <a:spcPts val="300"/>
              </a:spcAft>
              <a:buFont typeface="Arial" panose="020B0604020202020204" pitchFamily="34" charset="0"/>
              <a:buChar char="•"/>
            </a:pPr>
            <a:r>
              <a:rPr lang="fi-FI" sz="800" dirty="0">
                <a:solidFill>
                  <a:schemeClr val="bg1"/>
                </a:solidFill>
                <a:latin typeface="+mj-lt"/>
              </a:rPr>
              <a:t>Yksi keino osaajatarpeeseen vastaamisessa on pyrkiä kasvattamaan ulkomaisen työvoiman määrää suomalaisissa yrityksissä.</a:t>
            </a:r>
          </a:p>
          <a:p>
            <a:pPr marL="171450" indent="-171450">
              <a:spcAft>
                <a:spcPts val="300"/>
              </a:spcAft>
              <a:buFont typeface="Arial" panose="020B0604020202020204" pitchFamily="34" charset="0"/>
              <a:buChar char="•"/>
            </a:pPr>
            <a:r>
              <a:rPr lang="fi-FI" sz="800" dirty="0">
                <a:solidFill>
                  <a:schemeClr val="bg1"/>
                </a:solidFill>
                <a:latin typeface="+mj-lt"/>
              </a:rPr>
              <a:t>Asiantuntijoiden mukaan Suomen vetovoima on heikko verrattuna Keski-Eurooppaan esim. palkkojen kilpailukyvyssä.</a:t>
            </a:r>
          </a:p>
          <a:p>
            <a:pPr marL="171450" indent="-171450">
              <a:spcAft>
                <a:spcPts val="300"/>
              </a:spcAft>
              <a:buFont typeface="Arial" panose="020B0604020202020204" pitchFamily="34" charset="0"/>
              <a:buChar char="•"/>
            </a:pPr>
            <a:r>
              <a:rPr lang="fi-FI" sz="800" dirty="0">
                <a:solidFill>
                  <a:schemeClr val="bg1"/>
                </a:solidFill>
                <a:latin typeface="+mj-lt"/>
              </a:rPr>
              <a:t>Haasteen on tuonut nykyisen hallituksen maahanmuuttopolitiikka, joka on aiheuttanut pelkoa nykyisissä alan huippuosaajissa ja jotka katsovat työmahdollisuuksia muualta. Uudet huippuosaajat myös osin välttävät Suomea tämän seurauksena.</a:t>
            </a:r>
          </a:p>
          <a:p>
            <a:pPr>
              <a:spcAft>
                <a:spcPts val="300"/>
              </a:spcAft>
            </a:pPr>
            <a:endParaRPr lang="fi-FI" sz="800" dirty="0">
              <a:solidFill>
                <a:schemeClr val="bg1"/>
              </a:solidFill>
              <a:latin typeface="+mj-lt"/>
            </a:endParaRPr>
          </a:p>
        </p:txBody>
      </p:sp>
      <p:sp>
        <p:nvSpPr>
          <p:cNvPr id="14" name="TextBox 13">
            <a:extLst>
              <a:ext uri="{FF2B5EF4-FFF2-40B4-BE49-F238E27FC236}">
                <a16:creationId xmlns:a16="http://schemas.microsoft.com/office/drawing/2014/main" id="{9A22AA2A-78F6-846A-458B-271A83CB8F64}"/>
              </a:ext>
            </a:extLst>
          </p:cNvPr>
          <p:cNvSpPr txBox="1"/>
          <p:nvPr/>
        </p:nvSpPr>
        <p:spPr>
          <a:xfrm>
            <a:off x="4731618" y="1566746"/>
            <a:ext cx="4060800" cy="2785378"/>
          </a:xfrm>
          <a:prstGeom prst="rect">
            <a:avLst/>
          </a:prstGeom>
          <a:noFill/>
        </p:spPr>
        <p:txBody>
          <a:bodyPr wrap="square" lIns="72000" rIns="72000">
            <a:spAutoFit/>
          </a:bodyPr>
          <a:lstStyle/>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Nykysuhdanteen työvoimatilanne on hyvä mutta </a:t>
            </a:r>
            <a:r>
              <a:rPr lang="fi-FI" sz="800" dirty="0">
                <a:solidFill>
                  <a:schemeClr val="bg1"/>
                </a:solidFill>
                <a:latin typeface="+mj-lt"/>
                <a:ea typeface="Verdana" panose="020B0604030504040204" pitchFamily="34" charset="0"/>
                <a:cs typeface="Times New Roman" panose="02020603050405020304" pitchFamily="18" charset="0"/>
              </a:rPr>
              <a:t>suhdanteen parantuessa</a:t>
            </a:r>
            <a:r>
              <a:rPr lang="fi-FI" sz="800" dirty="0">
                <a:solidFill>
                  <a:schemeClr val="bg1"/>
                </a:solidFill>
                <a:effectLst/>
                <a:latin typeface="+mj-lt"/>
                <a:ea typeface="Verdana" panose="020B0604030504040204" pitchFamily="34" charset="0"/>
                <a:cs typeface="Times New Roman" panose="02020603050405020304" pitchFamily="18" charset="0"/>
              </a:rPr>
              <a:t> ja pitkällä tähtäimellä on tarve lisätä ulkomaisen työvoiman määrää, erityisesti jos vihreän siirtymän investoinnit etenevät voimakkaasti.</a:t>
            </a:r>
          </a:p>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Ulkomaisen työvoiman katsotaan lisäävän organisaation monimuotoisuutta positiivisella tavalla ja olevan avainasemassa, jos hankkeita tehdään kansainvälisille asiakkaille.</a:t>
            </a:r>
          </a:p>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Henkilömääräisesti ja kansallisuuksien osalta ulkomaista työvoimaa hyödynnetään laajasti esim. IT-palveluiden kehittämisessä tai arkkitehtisuunnittelussa.</a:t>
            </a:r>
          </a:p>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Ulkomaisen työvoiman haasteena suunnittelu- ja hallintotehtävissä on kielitaito ja kansallinen/paikallinen lainsäädäntö/toimintatapa liittyen esim. lupaprosesseihin, selostuksiin ja ohjeisiin.</a:t>
            </a:r>
          </a:p>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Ulkomailta Suomeen tulevat huippuosaajat ja heidän kotiutumisen tukeminen on tärkeää.</a:t>
            </a:r>
          </a:p>
          <a:p>
            <a:pPr marL="171450" lvl="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Kansainvälisten työntekijöiden tutkintojen ja osaamisen validointi haastavaa ja osaaminen ei välttämättä vastaa esitettyä.</a:t>
            </a:r>
          </a:p>
          <a:p>
            <a:pPr marL="171450" indent="-171450">
              <a:spcAft>
                <a:spcPts val="300"/>
              </a:spcAft>
              <a:buFont typeface="Arial" panose="020B0604020202020204" pitchFamily="34" charset="0"/>
              <a:buChar char="•"/>
            </a:pPr>
            <a:r>
              <a:rPr lang="fi-FI" sz="800" dirty="0">
                <a:solidFill>
                  <a:schemeClr val="bg1"/>
                </a:solidFill>
                <a:effectLst/>
                <a:latin typeface="+mj-lt"/>
                <a:ea typeface="Verdana" panose="020B0604030504040204" pitchFamily="34" charset="0"/>
                <a:cs typeface="Times New Roman" panose="02020603050405020304" pitchFamily="18" charset="0"/>
              </a:rPr>
              <a:t>Osaajien houkutteluun ja laajempaan hyödynnettävyyteen on panostettava mahdollistamalla työskentely myös ilman suomen kielen taitoa. Tämä vaatii asennemuutosta yrityksissä ja asiakaskentässä.</a:t>
            </a:r>
            <a:endParaRPr lang="fi-FI" sz="1200" dirty="0">
              <a:solidFill>
                <a:schemeClr val="bg1"/>
              </a:solidFill>
              <a:latin typeface="+mj-lt"/>
            </a:endParaRPr>
          </a:p>
        </p:txBody>
      </p:sp>
      <p:sp>
        <p:nvSpPr>
          <p:cNvPr id="6" name="Päivämäärän paikkamerkki 3">
            <a:extLst>
              <a:ext uri="{FF2B5EF4-FFF2-40B4-BE49-F238E27FC236}">
                <a16:creationId xmlns:a16="http://schemas.microsoft.com/office/drawing/2014/main" id="{309FC9F8-4307-09FE-60C3-E1AC7A68A567}"/>
              </a:ext>
            </a:extLst>
          </p:cNvPr>
          <p:cNvSpPr>
            <a:spLocks noGrp="1"/>
          </p:cNvSpPr>
          <p:nvPr>
            <p:ph type="dt" sz="half" idx="10"/>
          </p:nvPr>
        </p:nvSpPr>
        <p:spPr>
          <a:xfrm>
            <a:off x="282027" y="4728047"/>
            <a:ext cx="916709" cy="164690"/>
          </a:xfrm>
        </p:spPr>
        <p:txBody>
          <a:bodyPr/>
          <a:lstStyle/>
          <a:p>
            <a:r>
              <a:rPr lang="fi-FI" dirty="0"/>
              <a:t>8.10.2024</a:t>
            </a:r>
          </a:p>
        </p:txBody>
      </p:sp>
    </p:spTree>
    <p:extLst>
      <p:ext uri="{BB962C8B-B14F-4D97-AF65-F5344CB8AC3E}">
        <p14:creationId xmlns:p14="http://schemas.microsoft.com/office/powerpoint/2010/main" val="178916085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knologiateollisuus_masterdia">
  <a:themeElements>
    <a:clrScheme name="Mukautettu 3">
      <a:dk1>
        <a:srgbClr val="29282E"/>
      </a:dk1>
      <a:lt1>
        <a:srgbClr val="FFFFFF"/>
      </a:lt1>
      <a:dk2>
        <a:srgbClr val="B3B3B3"/>
      </a:dk2>
      <a:lt2>
        <a:srgbClr val="002964"/>
      </a:lt2>
      <a:accent1>
        <a:srgbClr val="85E869"/>
      </a:accent1>
      <a:accent2>
        <a:srgbClr val="FF805C"/>
      </a:accent2>
      <a:accent3>
        <a:srgbClr val="0ACFCF"/>
      </a:accent3>
      <a:accent4>
        <a:srgbClr val="FF00B8"/>
      </a:accent4>
      <a:accent5>
        <a:srgbClr val="0F78B2"/>
      </a:accent5>
      <a:accent6>
        <a:srgbClr val="8A0FA6"/>
      </a:accent6>
      <a:hlink>
        <a:srgbClr val="0ACFCF"/>
      </a:hlink>
      <a:folHlink>
        <a:srgbClr val="0ACFCF"/>
      </a:folHlink>
    </a:clrScheme>
    <a:fontScheme name="Mukautettu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vert="horz" wrap="square" lIns="91440" tIns="45720" rIns="91440" bIns="45720" numCol="1" anchor="t" anchorCtr="0" compatLnSpc="1">
        <a:prstTxWarp prst="textNoShape">
          <a:avLst/>
        </a:prstTxWarp>
      </a:bodyPr>
      <a:lstStyle>
        <a:defPPr>
          <a:defRPr/>
        </a:defPPr>
      </a:lst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pc="-40" dirty="0" err="1" smtClean="0"/>
        </a:defPPr>
      </a:lstStyle>
    </a:txDef>
  </a:objectDefaults>
  <a:extraClrSchemeLst/>
  <a:extLst>
    <a:ext uri="{05A4C25C-085E-4340-85A3-A5531E510DB2}">
      <thm15:themeFamily xmlns:thm15="http://schemas.microsoft.com/office/thememl/2012/main" name="Tekno_Fi_2016.potx" id="{5F339FE8-42F1-47BF-B229-7CF5CCFB3E2E}" vid="{665AB6D6-23D0-4559-BDD8-0677B20050DD}"/>
    </a:ext>
  </a:extLst>
</a:theme>
</file>

<file path=ppt/theme/theme2.xml><?xml version="1.0" encoding="utf-8"?>
<a:theme xmlns:a="http://schemas.openxmlformats.org/drawingml/2006/main" name="1_Teknologiateollisuus_masterdia">
  <a:themeElements>
    <a:clrScheme name="Mukautettu 3">
      <a:dk1>
        <a:srgbClr val="29282E"/>
      </a:dk1>
      <a:lt1>
        <a:srgbClr val="FFFFFF"/>
      </a:lt1>
      <a:dk2>
        <a:srgbClr val="B3B3B3"/>
      </a:dk2>
      <a:lt2>
        <a:srgbClr val="002964"/>
      </a:lt2>
      <a:accent1>
        <a:srgbClr val="85E869"/>
      </a:accent1>
      <a:accent2>
        <a:srgbClr val="FF805C"/>
      </a:accent2>
      <a:accent3>
        <a:srgbClr val="0ACFCF"/>
      </a:accent3>
      <a:accent4>
        <a:srgbClr val="FF00B8"/>
      </a:accent4>
      <a:accent5>
        <a:srgbClr val="0F78B2"/>
      </a:accent5>
      <a:accent6>
        <a:srgbClr val="8A0FA6"/>
      </a:accent6>
      <a:hlink>
        <a:srgbClr val="0ACFCF"/>
      </a:hlink>
      <a:folHlink>
        <a:srgbClr val="0ACFCF"/>
      </a:folHlink>
    </a:clrScheme>
    <a:fontScheme name="Mukautettu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vert="horz" wrap="square" lIns="91440" tIns="45720" rIns="91440" bIns="45720" numCol="1" anchor="t" anchorCtr="0" compatLnSpc="1">
        <a:prstTxWarp prst="textNoShape">
          <a:avLst/>
        </a:prstTxWarp>
      </a:bodyPr>
      <a:lstStyle>
        <a:defPPr>
          <a:defRPr/>
        </a:defPPr>
      </a:lst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pc="-40" dirty="0" err="1" smtClean="0"/>
        </a:defPPr>
      </a:lstStyle>
    </a:txDef>
  </a:objectDefaults>
  <a:extraClrSchemeLst/>
  <a:extLst>
    <a:ext uri="{05A4C25C-085E-4340-85A3-A5531E510DB2}">
      <thm15:themeFamily xmlns:thm15="http://schemas.microsoft.com/office/thememl/2012/main" name="Tekno_Fi_2016.potx" id="{5F339FE8-42F1-47BF-B229-7CF5CCFB3E2E}" vid="{665AB6D6-23D0-4559-BDD8-0677B20050D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Asiakirja" ma:contentTypeID="0x0101005951203446290046A0FE0142CCA0863F" ma:contentTypeVersion="18" ma:contentTypeDescription="Luo uusi asiakirja." ma:contentTypeScope="" ma:versionID="4d7fc39e9464e67c22f7a1062c89d260">
  <xsd:schema xmlns:xsd="http://www.w3.org/2001/XMLSchema" xmlns:xs="http://www.w3.org/2001/XMLSchema" xmlns:p="http://schemas.microsoft.com/office/2006/metadata/properties" xmlns:ns2="eb22c693-97ac-4ccb-b14f-01181fe0ae28" xmlns:ns3="95c5aa93-a000-4751-af2d-c6a31d0ab9bd" targetNamespace="http://schemas.microsoft.com/office/2006/metadata/properties" ma:root="true" ma:fieldsID="0c06fdb31b5b16ea28daace1a2e3a5b3" ns2:_="" ns3:_="">
    <xsd:import namespace="eb22c693-97ac-4ccb-b14f-01181fe0ae28"/>
    <xsd:import namespace="95c5aa93-a000-4751-af2d-c6a31d0ab9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22c693-97ac-4ccb-b14f-01181fe0ae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Kuvien tunnisteet" ma:readOnly="false" ma:fieldId="{5cf76f15-5ced-4ddc-b409-7134ff3c332f}" ma:taxonomyMulti="true" ma:sspId="f83a129e-02f3-4c10-aeed-b048f014efe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c5aa93-a000-4751-af2d-c6a31d0ab9bd" elementFormDefault="qualified">
    <xsd:import namespace="http://schemas.microsoft.com/office/2006/documentManagement/types"/>
    <xsd:import namespace="http://schemas.microsoft.com/office/infopath/2007/PartnerControls"/>
    <xsd:element name="SharedWithUsers" ma:index="16"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Jakamisen tiedot" ma:internalName="SharedWithDetails" ma:readOnly="true">
      <xsd:simpleType>
        <xsd:restriction base="dms:Note">
          <xsd:maxLength value="255"/>
        </xsd:restriction>
      </xsd:simpleType>
    </xsd:element>
    <xsd:element name="TaxCatchAll" ma:index="23" nillable="true" ma:displayName="Taxonomy Catch All Column" ma:hidden="true" ma:list="{2e9c19a5-a4e9-4da9-bb6f-386ac0e5581a}" ma:internalName="TaxCatchAll" ma:showField="CatchAllData" ma:web="95c5aa93-a000-4751-af2d-c6a31d0ab9b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b22c693-97ac-4ccb-b14f-01181fe0ae28">
      <Terms xmlns="http://schemas.microsoft.com/office/infopath/2007/PartnerControls"/>
    </lcf76f155ced4ddcb4097134ff3c332f>
    <TaxCatchAll xmlns="95c5aa93-a000-4751-af2d-c6a31d0ab9bd" xsi:nil="true"/>
  </documentManagement>
</p:properties>
</file>

<file path=customXml/itemProps1.xml><?xml version="1.0" encoding="utf-8"?>
<ds:datastoreItem xmlns:ds="http://schemas.openxmlformats.org/officeDocument/2006/customXml" ds:itemID="{1B2EDFCF-7DD8-4276-898E-DE858DED4BB2}">
  <ds:schemaRefs>
    <ds:schemaRef ds:uri="http://schemas.microsoft.com/sharepoint/v3/contenttype/forms"/>
  </ds:schemaRefs>
</ds:datastoreItem>
</file>

<file path=customXml/itemProps2.xml><?xml version="1.0" encoding="utf-8"?>
<ds:datastoreItem xmlns:ds="http://schemas.openxmlformats.org/officeDocument/2006/customXml" ds:itemID="{9C00155C-248C-49EA-9C46-4740AE669B3F}"/>
</file>

<file path=customXml/itemProps3.xml><?xml version="1.0" encoding="utf-8"?>
<ds:datastoreItem xmlns:ds="http://schemas.openxmlformats.org/officeDocument/2006/customXml" ds:itemID="{49A16553-FF53-4A3D-8469-CF5C6E8C7038}">
  <ds:schemaRefs>
    <ds:schemaRef ds:uri="http://schemas.microsoft.com/office/2006/documentManagement/types"/>
    <ds:schemaRef ds:uri="http://purl.org/dc/terms/"/>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purl.org/dc/elements/1.1/"/>
    <ds:schemaRef ds:uri="8e42ebce-1ca3-4ebe-bb10-6264223baabd"/>
    <ds:schemaRef ds:uri="5fe4c728-5a85-4e0b-af6e-ed3ad8a1dd0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SKOL-diaesitys-demo</Template>
  <TotalTime>556</TotalTime>
  <Words>2492</Words>
  <Application>Microsoft Office PowerPoint</Application>
  <PresentationFormat>On-screen Show (16:9)</PresentationFormat>
  <Paragraphs>256</Paragraphs>
  <Slides>14</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0" baseType="lpstr">
      <vt:lpstr>Arial</vt:lpstr>
      <vt:lpstr>Verdana</vt:lpstr>
      <vt:lpstr>Wingdings</vt:lpstr>
      <vt:lpstr>Teknologiateollisuus_masterdia</vt:lpstr>
      <vt:lpstr>1_Teknologiateollisuus_masterdia</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OL markkina-analyysi 2024</dc:title>
  <dc:creator>Daniel Forsman</dc:creator>
  <cp:keywords/>
  <cp:lastModifiedBy>Sami Ruotsalainen</cp:lastModifiedBy>
  <cp:revision>5</cp:revision>
  <cp:lastPrinted>2016-06-09T07:47:11Z</cp:lastPrinted>
  <dcterms:created xsi:type="dcterms:W3CDTF">2016-08-26T10:16:23Z</dcterms:created>
  <dcterms:modified xsi:type="dcterms:W3CDTF">2024-10-07T05:3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vkameleonVerID">
    <vt:lpwstr>482.21.02.003</vt:lpwstr>
  </property>
  <property fmtid="{D5CDD505-2E9C-101B-9397-08002B2CF9AE}" pid="3" name="dvSaved">
    <vt:lpwstr>1</vt:lpwstr>
  </property>
  <property fmtid="{D5CDD505-2E9C-101B-9397-08002B2CF9AE}" pid="4" name="dvLanguage">
    <vt:lpwstr>1035</vt:lpwstr>
  </property>
  <property fmtid="{D5CDD505-2E9C-101B-9397-08002B2CF9AE}" pid="5" name="dvTemplate">
    <vt:lpwstr>Tekno_fi.potx</vt:lpwstr>
  </property>
  <property fmtid="{D5CDD505-2E9C-101B-9397-08002B2CF9AE}" pid="6" name="dvDefinition">
    <vt:lpwstr>23 (dd_default.xml)</vt:lpwstr>
  </property>
  <property fmtid="{D5CDD505-2E9C-101B-9397-08002B2CF9AE}" pid="7" name="dvDefinitionID">
    <vt:lpwstr>23</vt:lpwstr>
  </property>
  <property fmtid="{D5CDD505-2E9C-101B-9397-08002B2CF9AE}" pid="8" name="dvContentFile">
    <vt:lpwstr>dd_default.xml</vt:lpwstr>
  </property>
  <property fmtid="{D5CDD505-2E9C-101B-9397-08002B2CF9AE}" pid="9" name="dvGlobalVerID">
    <vt:lpwstr>482.90.02.003</vt:lpwstr>
  </property>
  <property fmtid="{D5CDD505-2E9C-101B-9397-08002B2CF9AE}" pid="10" name="dvDefinitionVersion">
    <vt:lpwstr>2.1 / 22.1.2015</vt:lpwstr>
  </property>
  <property fmtid="{D5CDD505-2E9C-101B-9397-08002B2CF9AE}" pid="11" name="filename">
    <vt:lpwstr>false</vt:lpwstr>
  </property>
  <property fmtid="{D5CDD505-2E9C-101B-9397-08002B2CF9AE}" pid="12" name="filenameandpath">
    <vt:lpwstr>false</vt:lpwstr>
  </property>
  <property fmtid="{D5CDD505-2E9C-101B-9397-08002B2CF9AE}" pid="13" name="dvPagenumberExist">
    <vt:lpwstr>1</vt:lpwstr>
  </property>
  <property fmtid="{D5CDD505-2E9C-101B-9397-08002B2CF9AE}" pid="14" name="dvAuthorExist">
    <vt:lpwstr>1</vt:lpwstr>
  </property>
  <property fmtid="{D5CDD505-2E9C-101B-9397-08002B2CF9AE}" pid="15" name="dvDateExist">
    <vt:lpwstr>-1</vt:lpwstr>
  </property>
  <property fmtid="{D5CDD505-2E9C-101B-9397-08002B2CF9AE}" pid="16" name="dvCategory">
    <vt:lpwstr>4</vt:lpwstr>
  </property>
  <property fmtid="{D5CDD505-2E9C-101B-9397-08002B2CF9AE}" pid="17" name="dvCategory_2">
    <vt:lpwstr>0</vt:lpwstr>
  </property>
  <property fmtid="{D5CDD505-2E9C-101B-9397-08002B2CF9AE}" pid="18" name="dvSavepath">
    <vt:lpwstr/>
  </property>
  <property fmtid="{D5CDD505-2E9C-101B-9397-08002B2CF9AE}" pid="19" name="dvUsed">
    <vt:lpwstr>1</vt:lpwstr>
  </property>
  <property fmtid="{D5CDD505-2E9C-101B-9397-08002B2CF9AE}" pid="20" name="dvCompany">
    <vt:lpwstr/>
  </property>
  <property fmtid="{D5CDD505-2E9C-101B-9397-08002B2CF9AE}" pid="21" name="dvSite">
    <vt:lpwstr/>
  </property>
  <property fmtid="{D5CDD505-2E9C-101B-9397-08002B2CF9AE}" pid="22" name="dvNumbering">
    <vt:lpwstr>0</vt:lpwstr>
  </property>
  <property fmtid="{D5CDD505-2E9C-101B-9397-08002B2CF9AE}" pid="23" name="dvDUname">
    <vt:lpwstr>Nora Elers</vt:lpwstr>
  </property>
  <property fmtid="{D5CDD505-2E9C-101B-9397-08002B2CF9AE}" pid="24" name="dvDUdepartment">
    <vt:lpwstr/>
  </property>
  <property fmtid="{D5CDD505-2E9C-101B-9397-08002B2CF9AE}" pid="25" name="dvLogoExist">
    <vt:lpwstr>0</vt:lpwstr>
  </property>
  <property fmtid="{D5CDD505-2E9C-101B-9397-08002B2CF9AE}" pid="26" name="dvCurrentlogo">
    <vt:lpwstr/>
  </property>
  <property fmtid="{D5CDD505-2E9C-101B-9397-08002B2CF9AE}" pid="27" name="ContentTypeId">
    <vt:lpwstr>0x010100EF78AC9BA6DE654F9FCEA110777D9416</vt:lpwstr>
  </property>
  <property fmtid="{D5CDD505-2E9C-101B-9397-08002B2CF9AE}" pid="28" name="MSIP_Label_20ea7001-5c24-4702-a3ac-e436ccb02747_Enabled">
    <vt:lpwstr>true</vt:lpwstr>
  </property>
  <property fmtid="{D5CDD505-2E9C-101B-9397-08002B2CF9AE}" pid="29" name="MSIP_Label_20ea7001-5c24-4702-a3ac-e436ccb02747_SetDate">
    <vt:lpwstr>2023-09-07T10:34:30Z</vt:lpwstr>
  </property>
  <property fmtid="{D5CDD505-2E9C-101B-9397-08002B2CF9AE}" pid="30" name="MSIP_Label_20ea7001-5c24-4702-a3ac-e436ccb02747_Method">
    <vt:lpwstr>Standard</vt:lpwstr>
  </property>
  <property fmtid="{D5CDD505-2E9C-101B-9397-08002B2CF9AE}" pid="31" name="MSIP_Label_20ea7001-5c24-4702-a3ac-e436ccb02747_Name">
    <vt:lpwstr>Confidential</vt:lpwstr>
  </property>
  <property fmtid="{D5CDD505-2E9C-101B-9397-08002B2CF9AE}" pid="32" name="MSIP_Label_20ea7001-5c24-4702-a3ac-e436ccb02747_SiteId">
    <vt:lpwstr>c8823c91-be81-4f89-b024-6c3dd789c106</vt:lpwstr>
  </property>
  <property fmtid="{D5CDD505-2E9C-101B-9397-08002B2CF9AE}" pid="33" name="MSIP_Label_20ea7001-5c24-4702-a3ac-e436ccb02747_ActionId">
    <vt:lpwstr>a6cc2967-6f11-4ca1-ade8-d2dae53668f6</vt:lpwstr>
  </property>
  <property fmtid="{D5CDD505-2E9C-101B-9397-08002B2CF9AE}" pid="34" name="MSIP_Label_20ea7001-5c24-4702-a3ac-e436ccb02747_ContentBits">
    <vt:lpwstr>2</vt:lpwstr>
  </property>
  <property fmtid="{D5CDD505-2E9C-101B-9397-08002B2CF9AE}" pid="35" name="MediaServiceImageTags">
    <vt:lpwstr/>
  </property>
</Properties>
</file>